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2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"/>
  </p:notesMasterIdLst>
  <p:sldIdLst>
    <p:sldId id="459" r:id="rId2"/>
    <p:sldId id="460" r:id="rId3"/>
    <p:sldId id="461" r:id="rId4"/>
  </p:sldIdLst>
  <p:sldSz cx="12192000" cy="6858000"/>
  <p:notesSz cx="6797675" cy="9928225"/>
  <p:custDataLst>
    <p:tags r:id="rId6"/>
  </p:custDataLst>
  <p:defaultTextStyle>
    <a:defPPr>
      <a:defRPr lang="nl-NL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5613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2813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0013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7213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249" userDrawn="1">
          <p15:clr>
            <a:srgbClr val="A4A3A4"/>
          </p15:clr>
        </p15:guide>
        <p15:guide id="2" pos="3841" userDrawn="1">
          <p15:clr>
            <a:srgbClr val="A4A3A4"/>
          </p15:clr>
        </p15:guide>
        <p15:guide id="3" pos="212" userDrawn="1">
          <p15:clr>
            <a:srgbClr val="A4A3A4"/>
          </p15:clr>
        </p15:guide>
        <p15:guide id="4" pos="7609" userDrawn="1">
          <p15:clr>
            <a:srgbClr val="A4A3A4"/>
          </p15:clr>
        </p15:guide>
        <p15:guide id="5" orient="horz" pos="459" userDrawn="1">
          <p15:clr>
            <a:srgbClr val="A4A3A4"/>
          </p15:clr>
        </p15:guide>
        <p15:guide id="6" pos="71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EBFF"/>
    <a:srgbClr val="F4F4F4"/>
    <a:srgbClr val="86A728"/>
    <a:srgbClr val="00709B"/>
    <a:srgbClr val="FCFDF9"/>
    <a:srgbClr val="FAFCF6"/>
    <a:srgbClr val="FEFCFC"/>
    <a:srgbClr val="FDF5F6"/>
    <a:srgbClr val="FDF1F2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70" autoAdjust="0"/>
    <p:restoredTop sz="94896" autoAdjust="0"/>
  </p:normalViewPr>
  <p:slideViewPr>
    <p:cSldViewPr snapToGrid="0" snapToObjects="1">
      <p:cViewPr varScale="1">
        <p:scale>
          <a:sx n="139" d="100"/>
          <a:sy n="139" d="100"/>
        </p:scale>
        <p:origin x="736" y="176"/>
      </p:cViewPr>
      <p:guideLst>
        <p:guide orient="horz" pos="3249"/>
        <p:guide pos="3841"/>
        <p:guide pos="212"/>
        <p:guide pos="7609"/>
        <p:guide orient="horz" pos="459"/>
        <p:guide pos="713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9014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862" cy="497413"/>
          </a:xfrm>
          <a:prstGeom prst="rect">
            <a:avLst/>
          </a:prstGeom>
        </p:spPr>
        <p:txBody>
          <a:bodyPr vert="horz" lIns="88230" tIns="44115" rIns="88230" bIns="441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294" y="1"/>
            <a:ext cx="2945862" cy="497413"/>
          </a:xfrm>
          <a:prstGeom prst="rect">
            <a:avLst/>
          </a:prstGeom>
        </p:spPr>
        <p:txBody>
          <a:bodyPr vert="horz" lIns="88230" tIns="44115" rIns="88230" bIns="44115" rtlCol="0"/>
          <a:lstStyle>
            <a:lvl1pPr algn="r">
              <a:defRPr sz="1200"/>
            </a:lvl1pPr>
          </a:lstStyle>
          <a:p>
            <a:fld id="{A111C427-E542-104C-AEAB-3AF1EFDA8760}" type="datetimeFigureOut">
              <a:rPr lang="en-US" smtClean="0"/>
              <a:t>3/30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230" tIns="44115" rIns="88230" bIns="4411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64" y="4778547"/>
            <a:ext cx="5438748" cy="3908459"/>
          </a:xfrm>
          <a:prstGeom prst="rect">
            <a:avLst/>
          </a:prstGeom>
        </p:spPr>
        <p:txBody>
          <a:bodyPr vert="horz" lIns="88230" tIns="44115" rIns="88230" bIns="4411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814"/>
            <a:ext cx="2945862" cy="497413"/>
          </a:xfrm>
          <a:prstGeom prst="rect">
            <a:avLst/>
          </a:prstGeom>
        </p:spPr>
        <p:txBody>
          <a:bodyPr vert="horz" lIns="88230" tIns="44115" rIns="88230" bIns="441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294" y="9430814"/>
            <a:ext cx="2945862" cy="497413"/>
          </a:xfrm>
          <a:prstGeom prst="rect">
            <a:avLst/>
          </a:prstGeom>
        </p:spPr>
        <p:txBody>
          <a:bodyPr vert="horz" lIns="88230" tIns="44115" rIns="88230" bIns="44115" rtlCol="0" anchor="b"/>
          <a:lstStyle>
            <a:lvl1pPr algn="r">
              <a:defRPr sz="1200"/>
            </a:lvl1pPr>
          </a:lstStyle>
          <a:p>
            <a:fld id="{FAAB609A-7C95-C64D-8AF0-106FCBAF71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0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3.xml"/><Relationship Id="rId7" Type="http://schemas.openxmlformats.org/officeDocument/2006/relationships/oleObject" Target="../embeddings/oleObject16.bin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7.xml"/><Relationship Id="rId7" Type="http://schemas.openxmlformats.org/officeDocument/2006/relationships/oleObject" Target="../embeddings/oleObject17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2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3_Titel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1250541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6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EA806CA-C382-4E62-A5CA-AA1204A39F24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Vrije vorm 1"/>
          <p:cNvSpPr/>
          <p:nvPr/>
        </p:nvSpPr>
        <p:spPr bwMode="auto">
          <a:xfrm>
            <a:off x="-32156" y="-8709"/>
            <a:ext cx="12240233" cy="6679475"/>
          </a:xfrm>
          <a:custGeom>
            <a:avLst/>
            <a:gdLst>
              <a:gd name="connsiteX0" fmla="*/ 0 w 9927772"/>
              <a:gd name="connsiteY0" fmla="*/ 6470469 h 6679475"/>
              <a:gd name="connsiteX1" fmla="*/ 1384663 w 9927772"/>
              <a:gd name="connsiteY1" fmla="*/ 6470469 h 6679475"/>
              <a:gd name="connsiteX2" fmla="*/ 1541418 w 9927772"/>
              <a:gd name="connsiteY2" fmla="*/ 6679475 h 6679475"/>
              <a:gd name="connsiteX3" fmla="*/ 9927772 w 9927772"/>
              <a:gd name="connsiteY3" fmla="*/ 6679475 h 6679475"/>
              <a:gd name="connsiteX4" fmla="*/ 9927772 w 9927772"/>
              <a:gd name="connsiteY4" fmla="*/ 0 h 6679475"/>
              <a:gd name="connsiteX5" fmla="*/ 17418 w 9927772"/>
              <a:gd name="connsiteY5" fmla="*/ 0 h 6679475"/>
              <a:gd name="connsiteX6" fmla="*/ 0 w 9927772"/>
              <a:gd name="connsiteY6" fmla="*/ 6470469 h 6679475"/>
              <a:gd name="connsiteX0" fmla="*/ 17417 w 9945189"/>
              <a:gd name="connsiteY0" fmla="*/ 6470469 h 6679475"/>
              <a:gd name="connsiteX1" fmla="*/ 1402080 w 9945189"/>
              <a:gd name="connsiteY1" fmla="*/ 6470469 h 6679475"/>
              <a:gd name="connsiteX2" fmla="*/ 1558835 w 9945189"/>
              <a:gd name="connsiteY2" fmla="*/ 6679475 h 6679475"/>
              <a:gd name="connsiteX3" fmla="*/ 9945189 w 9945189"/>
              <a:gd name="connsiteY3" fmla="*/ 6679475 h 6679475"/>
              <a:gd name="connsiteX4" fmla="*/ 9945189 w 9945189"/>
              <a:gd name="connsiteY4" fmla="*/ 0 h 6679475"/>
              <a:gd name="connsiteX5" fmla="*/ 0 w 9945189"/>
              <a:gd name="connsiteY5" fmla="*/ 0 h 6679475"/>
              <a:gd name="connsiteX6" fmla="*/ 17417 w 9945189"/>
              <a:gd name="connsiteY6" fmla="*/ 6470469 h 6679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45189" h="6679475">
                <a:moveTo>
                  <a:pt x="17417" y="6470469"/>
                </a:moveTo>
                <a:lnTo>
                  <a:pt x="1402080" y="6470469"/>
                </a:lnTo>
                <a:lnTo>
                  <a:pt x="1558835" y="6679475"/>
                </a:lnTo>
                <a:lnTo>
                  <a:pt x="9945189" y="6679475"/>
                </a:lnTo>
                <a:lnTo>
                  <a:pt x="9945189" y="0"/>
                </a:lnTo>
                <a:lnTo>
                  <a:pt x="0" y="0"/>
                </a:lnTo>
                <a:cubicBezTo>
                  <a:pt x="5806" y="2156823"/>
                  <a:pt x="11611" y="4313646"/>
                  <a:pt x="17417" y="6470469"/>
                </a:cubicBezTo>
                <a:close/>
              </a:path>
            </a:pathLst>
          </a:custGeom>
          <a:blipFill dpi="0" rotWithShape="1">
            <a:blip r:embed="rId7" cstate="email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-2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1657190" y="4293096"/>
            <a:ext cx="8861538" cy="972028"/>
          </a:xfrm>
          <a:prstGeom prst="snip1Rect">
            <a:avLst>
              <a:gd name="adj" fmla="val 30106"/>
            </a:avLst>
          </a:prstGeom>
          <a:solidFill>
            <a:schemeClr val="tx1">
              <a:alpha val="16863"/>
            </a:schemeClr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nl-NL" dirty="0"/>
          </a:p>
        </p:txBody>
      </p:sp>
      <p:sp>
        <p:nvSpPr>
          <p:cNvPr id="17" name="Tijdelijke aanduiding voor tekst 14"/>
          <p:cNvSpPr>
            <a:spLocks noGrp="1"/>
          </p:cNvSpPr>
          <p:nvPr>
            <p:ph type="body" sz="quarter" idx="12" hasCustomPrompt="1"/>
          </p:nvPr>
        </p:nvSpPr>
        <p:spPr>
          <a:xfrm>
            <a:off x="1657190" y="6081274"/>
            <a:ext cx="8861538" cy="360000"/>
          </a:xfrm>
        </p:spPr>
        <p:txBody>
          <a:bodyPr anchor="ctr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400" i="0">
                <a:solidFill>
                  <a:schemeClr val="bg1"/>
                </a:solidFill>
              </a:defRPr>
            </a:lvl1pPr>
          </a:lstStyle>
          <a:p>
            <a:pPr algn="ctr" eaLnBrk="1" hangingPunct="1"/>
            <a:r>
              <a:rPr lang="en-GB" sz="1600" dirty="0"/>
              <a:t>DATE</a:t>
            </a:r>
            <a:endParaRPr lang="en-US" sz="1600" dirty="0"/>
          </a:p>
        </p:txBody>
      </p:sp>
      <p:sp>
        <p:nvSpPr>
          <p:cNvPr id="16" name="Tijdelijke aanduiding voor tekst 14"/>
          <p:cNvSpPr>
            <a:spLocks noGrp="1"/>
          </p:cNvSpPr>
          <p:nvPr>
            <p:ph type="body" sz="quarter" idx="11" hasCustomPrompt="1"/>
          </p:nvPr>
        </p:nvSpPr>
        <p:spPr>
          <a:xfrm>
            <a:off x="1657190" y="5265204"/>
            <a:ext cx="8861538" cy="720000"/>
          </a:xfrm>
        </p:spPr>
        <p:txBody>
          <a:bodyPr anchor="ctr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algn="ctr" eaLnBrk="1" hangingPunct="1"/>
            <a:r>
              <a:rPr lang="en-GB" sz="1600" dirty="0"/>
              <a:t>Presentation Subtitle</a:t>
            </a:r>
            <a:endParaRPr lang="en-US" sz="1600" dirty="0"/>
          </a:p>
        </p:txBody>
      </p:sp>
      <p:sp>
        <p:nvSpPr>
          <p:cNvPr id="9" name="Tijdelijke aanduiding voor tekst 11"/>
          <p:cNvSpPr>
            <a:spLocks noGrp="1"/>
          </p:cNvSpPr>
          <p:nvPr>
            <p:ph type="body" sz="quarter" idx="14" hasCustomPrompt="1"/>
          </p:nvPr>
        </p:nvSpPr>
        <p:spPr>
          <a:xfrm>
            <a:off x="9119115" y="6646322"/>
            <a:ext cx="2928815" cy="231775"/>
          </a:xfrm>
        </p:spPr>
        <p:txBody>
          <a:bodyPr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  <p:grpSp>
        <p:nvGrpSpPr>
          <p:cNvPr id="27" name="Groep 13">
            <a:extLst>
              <a:ext uri="{FF2B5EF4-FFF2-40B4-BE49-F238E27FC236}">
                <a16:creationId xmlns:a16="http://schemas.microsoft.com/office/drawing/2014/main" id="{DF73D825-8D29-4F7D-A20A-7D56B502E933}"/>
              </a:ext>
            </a:extLst>
          </p:cNvPr>
          <p:cNvGrpSpPr/>
          <p:nvPr userDrawn="1"/>
        </p:nvGrpSpPr>
        <p:grpSpPr>
          <a:xfrm>
            <a:off x="199738" y="158750"/>
            <a:ext cx="1224000" cy="936000"/>
            <a:chOff x="2587096" y="1620838"/>
            <a:chExt cx="1463675" cy="1130300"/>
          </a:xfrm>
        </p:grpSpPr>
        <p:sp>
          <p:nvSpPr>
            <p:cNvPr id="29" name="Freeform 170">
              <a:extLst>
                <a:ext uri="{FF2B5EF4-FFF2-40B4-BE49-F238E27FC236}">
                  <a16:creationId xmlns:a16="http://schemas.microsoft.com/office/drawing/2014/main" id="{FDD54639-7BF4-489C-8361-2F8C32EE8E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096" y="2486026"/>
              <a:ext cx="66675" cy="111125"/>
            </a:xfrm>
            <a:custGeom>
              <a:avLst/>
              <a:gdLst>
                <a:gd name="T0" fmla="*/ 99 w 168"/>
                <a:gd name="T1" fmla="*/ 0 h 278"/>
                <a:gd name="T2" fmla="*/ 114 w 168"/>
                <a:gd name="T3" fmla="*/ 0 h 278"/>
                <a:gd name="T4" fmla="*/ 131 w 168"/>
                <a:gd name="T5" fmla="*/ 2 h 278"/>
                <a:gd name="T6" fmla="*/ 148 w 168"/>
                <a:gd name="T7" fmla="*/ 6 h 278"/>
                <a:gd name="T8" fmla="*/ 164 w 168"/>
                <a:gd name="T9" fmla="*/ 12 h 278"/>
                <a:gd name="T10" fmla="*/ 159 w 168"/>
                <a:gd name="T11" fmla="*/ 34 h 278"/>
                <a:gd name="T12" fmla="*/ 141 w 168"/>
                <a:gd name="T13" fmla="*/ 32 h 278"/>
                <a:gd name="T14" fmla="*/ 120 w 168"/>
                <a:gd name="T15" fmla="*/ 31 h 278"/>
                <a:gd name="T16" fmla="*/ 103 w 168"/>
                <a:gd name="T17" fmla="*/ 30 h 278"/>
                <a:gd name="T18" fmla="*/ 84 w 168"/>
                <a:gd name="T19" fmla="*/ 31 h 278"/>
                <a:gd name="T20" fmla="*/ 68 w 168"/>
                <a:gd name="T21" fmla="*/ 35 h 278"/>
                <a:gd name="T22" fmla="*/ 56 w 168"/>
                <a:gd name="T23" fmla="*/ 42 h 278"/>
                <a:gd name="T24" fmla="*/ 45 w 168"/>
                <a:gd name="T25" fmla="*/ 53 h 278"/>
                <a:gd name="T26" fmla="*/ 38 w 168"/>
                <a:gd name="T27" fmla="*/ 67 h 278"/>
                <a:gd name="T28" fmla="*/ 33 w 168"/>
                <a:gd name="T29" fmla="*/ 87 h 278"/>
                <a:gd name="T30" fmla="*/ 30 w 168"/>
                <a:gd name="T31" fmla="*/ 111 h 278"/>
                <a:gd name="T32" fmla="*/ 28 w 168"/>
                <a:gd name="T33" fmla="*/ 139 h 278"/>
                <a:gd name="T34" fmla="*/ 30 w 168"/>
                <a:gd name="T35" fmla="*/ 169 h 278"/>
                <a:gd name="T36" fmla="*/ 33 w 168"/>
                <a:gd name="T37" fmla="*/ 191 h 278"/>
                <a:gd name="T38" fmla="*/ 38 w 168"/>
                <a:gd name="T39" fmla="*/ 211 h 278"/>
                <a:gd name="T40" fmla="*/ 45 w 168"/>
                <a:gd name="T41" fmla="*/ 226 h 278"/>
                <a:gd name="T42" fmla="*/ 56 w 168"/>
                <a:gd name="T43" fmla="*/ 236 h 278"/>
                <a:gd name="T44" fmla="*/ 68 w 168"/>
                <a:gd name="T45" fmla="*/ 243 h 278"/>
                <a:gd name="T46" fmla="*/ 84 w 168"/>
                <a:gd name="T47" fmla="*/ 246 h 278"/>
                <a:gd name="T48" fmla="*/ 103 w 168"/>
                <a:gd name="T49" fmla="*/ 248 h 278"/>
                <a:gd name="T50" fmla="*/ 116 w 168"/>
                <a:gd name="T51" fmla="*/ 247 h 278"/>
                <a:gd name="T52" fmla="*/ 131 w 168"/>
                <a:gd name="T53" fmla="*/ 247 h 278"/>
                <a:gd name="T54" fmla="*/ 149 w 168"/>
                <a:gd name="T55" fmla="*/ 245 h 278"/>
                <a:gd name="T56" fmla="*/ 165 w 168"/>
                <a:gd name="T57" fmla="*/ 241 h 278"/>
                <a:gd name="T58" fmla="*/ 168 w 168"/>
                <a:gd name="T59" fmla="*/ 265 h 278"/>
                <a:gd name="T60" fmla="*/ 145 w 168"/>
                <a:gd name="T61" fmla="*/ 272 h 278"/>
                <a:gd name="T62" fmla="*/ 123 w 168"/>
                <a:gd name="T63" fmla="*/ 277 h 278"/>
                <a:gd name="T64" fmla="*/ 99 w 168"/>
                <a:gd name="T65" fmla="*/ 278 h 278"/>
                <a:gd name="T66" fmla="*/ 74 w 168"/>
                <a:gd name="T67" fmla="*/ 276 h 278"/>
                <a:gd name="T68" fmla="*/ 53 w 168"/>
                <a:gd name="T69" fmla="*/ 270 h 278"/>
                <a:gd name="T70" fmla="*/ 36 w 168"/>
                <a:gd name="T71" fmla="*/ 261 h 278"/>
                <a:gd name="T72" fmla="*/ 23 w 168"/>
                <a:gd name="T73" fmla="*/ 247 h 278"/>
                <a:gd name="T74" fmla="*/ 13 w 168"/>
                <a:gd name="T75" fmla="*/ 228 h 278"/>
                <a:gd name="T76" fmla="*/ 6 w 168"/>
                <a:gd name="T77" fmla="*/ 204 h 278"/>
                <a:gd name="T78" fmla="*/ 1 w 168"/>
                <a:gd name="T79" fmla="*/ 174 h 278"/>
                <a:gd name="T80" fmla="*/ 0 w 168"/>
                <a:gd name="T81" fmla="*/ 139 h 278"/>
                <a:gd name="T82" fmla="*/ 1 w 168"/>
                <a:gd name="T83" fmla="*/ 104 h 278"/>
                <a:gd name="T84" fmla="*/ 6 w 168"/>
                <a:gd name="T85" fmla="*/ 74 h 278"/>
                <a:gd name="T86" fmla="*/ 13 w 168"/>
                <a:gd name="T87" fmla="*/ 50 h 278"/>
                <a:gd name="T88" fmla="*/ 23 w 168"/>
                <a:gd name="T89" fmla="*/ 31 h 278"/>
                <a:gd name="T90" fmla="*/ 36 w 168"/>
                <a:gd name="T91" fmla="*/ 17 h 278"/>
                <a:gd name="T92" fmla="*/ 53 w 168"/>
                <a:gd name="T93" fmla="*/ 7 h 278"/>
                <a:gd name="T94" fmla="*/ 74 w 168"/>
                <a:gd name="T95" fmla="*/ 1 h 278"/>
                <a:gd name="T96" fmla="*/ 99 w 168"/>
                <a:gd name="T97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8" h="278">
                  <a:moveTo>
                    <a:pt x="99" y="0"/>
                  </a:moveTo>
                  <a:lnTo>
                    <a:pt x="114" y="0"/>
                  </a:lnTo>
                  <a:lnTo>
                    <a:pt x="131" y="2"/>
                  </a:lnTo>
                  <a:lnTo>
                    <a:pt x="148" y="6"/>
                  </a:lnTo>
                  <a:lnTo>
                    <a:pt x="164" y="12"/>
                  </a:lnTo>
                  <a:lnTo>
                    <a:pt x="159" y="34"/>
                  </a:lnTo>
                  <a:lnTo>
                    <a:pt x="141" y="32"/>
                  </a:lnTo>
                  <a:lnTo>
                    <a:pt x="120" y="31"/>
                  </a:lnTo>
                  <a:lnTo>
                    <a:pt x="103" y="30"/>
                  </a:lnTo>
                  <a:lnTo>
                    <a:pt x="84" y="31"/>
                  </a:lnTo>
                  <a:lnTo>
                    <a:pt x="68" y="35"/>
                  </a:lnTo>
                  <a:lnTo>
                    <a:pt x="56" y="42"/>
                  </a:lnTo>
                  <a:lnTo>
                    <a:pt x="45" y="53"/>
                  </a:lnTo>
                  <a:lnTo>
                    <a:pt x="38" y="67"/>
                  </a:lnTo>
                  <a:lnTo>
                    <a:pt x="33" y="87"/>
                  </a:lnTo>
                  <a:lnTo>
                    <a:pt x="30" y="111"/>
                  </a:lnTo>
                  <a:lnTo>
                    <a:pt x="28" y="139"/>
                  </a:lnTo>
                  <a:lnTo>
                    <a:pt x="30" y="169"/>
                  </a:lnTo>
                  <a:lnTo>
                    <a:pt x="33" y="191"/>
                  </a:lnTo>
                  <a:lnTo>
                    <a:pt x="38" y="211"/>
                  </a:lnTo>
                  <a:lnTo>
                    <a:pt x="45" y="226"/>
                  </a:lnTo>
                  <a:lnTo>
                    <a:pt x="56" y="236"/>
                  </a:lnTo>
                  <a:lnTo>
                    <a:pt x="68" y="243"/>
                  </a:lnTo>
                  <a:lnTo>
                    <a:pt x="84" y="246"/>
                  </a:lnTo>
                  <a:lnTo>
                    <a:pt x="103" y="248"/>
                  </a:lnTo>
                  <a:lnTo>
                    <a:pt x="116" y="247"/>
                  </a:lnTo>
                  <a:lnTo>
                    <a:pt x="131" y="247"/>
                  </a:lnTo>
                  <a:lnTo>
                    <a:pt x="149" y="245"/>
                  </a:lnTo>
                  <a:lnTo>
                    <a:pt x="165" y="241"/>
                  </a:lnTo>
                  <a:lnTo>
                    <a:pt x="168" y="265"/>
                  </a:lnTo>
                  <a:lnTo>
                    <a:pt x="145" y="272"/>
                  </a:lnTo>
                  <a:lnTo>
                    <a:pt x="123" y="277"/>
                  </a:lnTo>
                  <a:lnTo>
                    <a:pt x="99" y="278"/>
                  </a:lnTo>
                  <a:lnTo>
                    <a:pt x="74" y="276"/>
                  </a:lnTo>
                  <a:lnTo>
                    <a:pt x="53" y="270"/>
                  </a:lnTo>
                  <a:lnTo>
                    <a:pt x="36" y="261"/>
                  </a:lnTo>
                  <a:lnTo>
                    <a:pt x="23" y="247"/>
                  </a:lnTo>
                  <a:lnTo>
                    <a:pt x="13" y="228"/>
                  </a:lnTo>
                  <a:lnTo>
                    <a:pt x="6" y="204"/>
                  </a:lnTo>
                  <a:lnTo>
                    <a:pt x="1" y="174"/>
                  </a:lnTo>
                  <a:lnTo>
                    <a:pt x="0" y="139"/>
                  </a:lnTo>
                  <a:lnTo>
                    <a:pt x="1" y="104"/>
                  </a:lnTo>
                  <a:lnTo>
                    <a:pt x="6" y="74"/>
                  </a:lnTo>
                  <a:lnTo>
                    <a:pt x="13" y="50"/>
                  </a:lnTo>
                  <a:lnTo>
                    <a:pt x="23" y="31"/>
                  </a:lnTo>
                  <a:lnTo>
                    <a:pt x="36" y="17"/>
                  </a:lnTo>
                  <a:lnTo>
                    <a:pt x="53" y="7"/>
                  </a:lnTo>
                  <a:lnTo>
                    <a:pt x="74" y="1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" name="Freeform 171">
              <a:extLst>
                <a:ext uri="{FF2B5EF4-FFF2-40B4-BE49-F238E27FC236}">
                  <a16:creationId xmlns:a16="http://schemas.microsoft.com/office/drawing/2014/main" id="{4E9A0AB2-6EE9-4E1F-A2DB-0624446A4A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83934" y="2486026"/>
              <a:ext cx="77788" cy="111125"/>
            </a:xfrm>
            <a:custGeom>
              <a:avLst/>
              <a:gdLst>
                <a:gd name="T0" fmla="*/ 80 w 194"/>
                <a:gd name="T1" fmla="*/ 31 h 278"/>
                <a:gd name="T2" fmla="*/ 54 w 194"/>
                <a:gd name="T3" fmla="*/ 42 h 278"/>
                <a:gd name="T4" fmla="*/ 38 w 194"/>
                <a:gd name="T5" fmla="*/ 68 h 278"/>
                <a:gd name="T6" fmla="*/ 31 w 194"/>
                <a:gd name="T7" fmla="*/ 111 h 278"/>
                <a:gd name="T8" fmla="*/ 31 w 194"/>
                <a:gd name="T9" fmla="*/ 167 h 278"/>
                <a:gd name="T10" fmla="*/ 38 w 194"/>
                <a:gd name="T11" fmla="*/ 211 h 278"/>
                <a:gd name="T12" fmla="*/ 54 w 194"/>
                <a:gd name="T13" fmla="*/ 236 h 278"/>
                <a:gd name="T14" fmla="*/ 80 w 194"/>
                <a:gd name="T15" fmla="*/ 247 h 278"/>
                <a:gd name="T16" fmla="*/ 115 w 194"/>
                <a:gd name="T17" fmla="*/ 247 h 278"/>
                <a:gd name="T18" fmla="*/ 141 w 194"/>
                <a:gd name="T19" fmla="*/ 236 h 278"/>
                <a:gd name="T20" fmla="*/ 157 w 194"/>
                <a:gd name="T21" fmla="*/ 211 h 278"/>
                <a:gd name="T22" fmla="*/ 165 w 194"/>
                <a:gd name="T23" fmla="*/ 167 h 278"/>
                <a:gd name="T24" fmla="*/ 165 w 194"/>
                <a:gd name="T25" fmla="*/ 111 h 278"/>
                <a:gd name="T26" fmla="*/ 157 w 194"/>
                <a:gd name="T27" fmla="*/ 68 h 278"/>
                <a:gd name="T28" fmla="*/ 141 w 194"/>
                <a:gd name="T29" fmla="*/ 42 h 278"/>
                <a:gd name="T30" fmla="*/ 115 w 194"/>
                <a:gd name="T31" fmla="*/ 31 h 278"/>
                <a:gd name="T32" fmla="*/ 98 w 194"/>
                <a:gd name="T33" fmla="*/ 0 h 278"/>
                <a:gd name="T34" fmla="*/ 142 w 194"/>
                <a:gd name="T35" fmla="*/ 7 h 278"/>
                <a:gd name="T36" fmla="*/ 173 w 194"/>
                <a:gd name="T37" fmla="*/ 32 h 278"/>
                <a:gd name="T38" fmla="*/ 189 w 194"/>
                <a:gd name="T39" fmla="*/ 74 h 278"/>
                <a:gd name="T40" fmla="*/ 194 w 194"/>
                <a:gd name="T41" fmla="*/ 139 h 278"/>
                <a:gd name="T42" fmla="*/ 189 w 194"/>
                <a:gd name="T43" fmla="*/ 204 h 278"/>
                <a:gd name="T44" fmla="*/ 173 w 194"/>
                <a:gd name="T45" fmla="*/ 246 h 278"/>
                <a:gd name="T46" fmla="*/ 142 w 194"/>
                <a:gd name="T47" fmla="*/ 270 h 278"/>
                <a:gd name="T48" fmla="*/ 98 w 194"/>
                <a:gd name="T49" fmla="*/ 278 h 278"/>
                <a:gd name="T50" fmla="*/ 53 w 194"/>
                <a:gd name="T51" fmla="*/ 270 h 278"/>
                <a:gd name="T52" fmla="*/ 22 w 194"/>
                <a:gd name="T53" fmla="*/ 246 h 278"/>
                <a:gd name="T54" fmla="*/ 6 w 194"/>
                <a:gd name="T55" fmla="*/ 204 h 278"/>
                <a:gd name="T56" fmla="*/ 0 w 194"/>
                <a:gd name="T57" fmla="*/ 139 h 278"/>
                <a:gd name="T58" fmla="*/ 6 w 194"/>
                <a:gd name="T59" fmla="*/ 74 h 278"/>
                <a:gd name="T60" fmla="*/ 22 w 194"/>
                <a:gd name="T61" fmla="*/ 32 h 278"/>
                <a:gd name="T62" fmla="*/ 53 w 194"/>
                <a:gd name="T63" fmla="*/ 7 h 278"/>
                <a:gd name="T64" fmla="*/ 98 w 194"/>
                <a:gd name="T6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4" h="278">
                  <a:moveTo>
                    <a:pt x="98" y="30"/>
                  </a:moveTo>
                  <a:lnTo>
                    <a:pt x="80" y="31"/>
                  </a:lnTo>
                  <a:lnTo>
                    <a:pt x="65" y="35"/>
                  </a:lnTo>
                  <a:lnTo>
                    <a:pt x="54" y="42"/>
                  </a:lnTo>
                  <a:lnTo>
                    <a:pt x="45" y="54"/>
                  </a:lnTo>
                  <a:lnTo>
                    <a:pt x="38" y="68"/>
                  </a:lnTo>
                  <a:lnTo>
                    <a:pt x="33" y="87"/>
                  </a:lnTo>
                  <a:lnTo>
                    <a:pt x="31" y="111"/>
                  </a:lnTo>
                  <a:lnTo>
                    <a:pt x="30" y="139"/>
                  </a:lnTo>
                  <a:lnTo>
                    <a:pt x="31" y="167"/>
                  </a:lnTo>
                  <a:lnTo>
                    <a:pt x="33" y="191"/>
                  </a:lnTo>
                  <a:lnTo>
                    <a:pt x="38" y="211"/>
                  </a:lnTo>
                  <a:lnTo>
                    <a:pt x="45" y="226"/>
                  </a:lnTo>
                  <a:lnTo>
                    <a:pt x="54" y="236"/>
                  </a:lnTo>
                  <a:lnTo>
                    <a:pt x="65" y="243"/>
                  </a:lnTo>
                  <a:lnTo>
                    <a:pt x="80" y="247"/>
                  </a:lnTo>
                  <a:lnTo>
                    <a:pt x="98" y="248"/>
                  </a:lnTo>
                  <a:lnTo>
                    <a:pt x="115" y="247"/>
                  </a:lnTo>
                  <a:lnTo>
                    <a:pt x="130" y="243"/>
                  </a:lnTo>
                  <a:lnTo>
                    <a:pt x="141" y="236"/>
                  </a:lnTo>
                  <a:lnTo>
                    <a:pt x="150" y="226"/>
                  </a:lnTo>
                  <a:lnTo>
                    <a:pt x="157" y="211"/>
                  </a:lnTo>
                  <a:lnTo>
                    <a:pt x="162" y="191"/>
                  </a:lnTo>
                  <a:lnTo>
                    <a:pt x="165" y="167"/>
                  </a:lnTo>
                  <a:lnTo>
                    <a:pt x="165" y="139"/>
                  </a:lnTo>
                  <a:lnTo>
                    <a:pt x="165" y="111"/>
                  </a:lnTo>
                  <a:lnTo>
                    <a:pt x="162" y="87"/>
                  </a:lnTo>
                  <a:lnTo>
                    <a:pt x="157" y="68"/>
                  </a:lnTo>
                  <a:lnTo>
                    <a:pt x="150" y="54"/>
                  </a:lnTo>
                  <a:lnTo>
                    <a:pt x="141" y="42"/>
                  </a:lnTo>
                  <a:lnTo>
                    <a:pt x="130" y="35"/>
                  </a:lnTo>
                  <a:lnTo>
                    <a:pt x="115" y="31"/>
                  </a:lnTo>
                  <a:lnTo>
                    <a:pt x="98" y="30"/>
                  </a:lnTo>
                  <a:close/>
                  <a:moveTo>
                    <a:pt x="98" y="0"/>
                  </a:moveTo>
                  <a:lnTo>
                    <a:pt x="122" y="1"/>
                  </a:lnTo>
                  <a:lnTo>
                    <a:pt x="142" y="7"/>
                  </a:lnTo>
                  <a:lnTo>
                    <a:pt x="159" y="17"/>
                  </a:lnTo>
                  <a:lnTo>
                    <a:pt x="173" y="32"/>
                  </a:lnTo>
                  <a:lnTo>
                    <a:pt x="182" y="50"/>
                  </a:lnTo>
                  <a:lnTo>
                    <a:pt x="189" y="74"/>
                  </a:lnTo>
                  <a:lnTo>
                    <a:pt x="193" y="104"/>
                  </a:lnTo>
                  <a:lnTo>
                    <a:pt x="194" y="139"/>
                  </a:lnTo>
                  <a:lnTo>
                    <a:pt x="193" y="174"/>
                  </a:lnTo>
                  <a:lnTo>
                    <a:pt x="189" y="204"/>
                  </a:lnTo>
                  <a:lnTo>
                    <a:pt x="182" y="228"/>
                  </a:lnTo>
                  <a:lnTo>
                    <a:pt x="173" y="246"/>
                  </a:lnTo>
                  <a:lnTo>
                    <a:pt x="159" y="261"/>
                  </a:lnTo>
                  <a:lnTo>
                    <a:pt x="142" y="270"/>
                  </a:lnTo>
                  <a:lnTo>
                    <a:pt x="122" y="276"/>
                  </a:lnTo>
                  <a:lnTo>
                    <a:pt x="98" y="278"/>
                  </a:lnTo>
                  <a:lnTo>
                    <a:pt x="73" y="276"/>
                  </a:lnTo>
                  <a:lnTo>
                    <a:pt x="53" y="270"/>
                  </a:lnTo>
                  <a:lnTo>
                    <a:pt x="36" y="261"/>
                  </a:lnTo>
                  <a:lnTo>
                    <a:pt x="22" y="246"/>
                  </a:lnTo>
                  <a:lnTo>
                    <a:pt x="13" y="228"/>
                  </a:lnTo>
                  <a:lnTo>
                    <a:pt x="6" y="204"/>
                  </a:lnTo>
                  <a:lnTo>
                    <a:pt x="2" y="174"/>
                  </a:lnTo>
                  <a:lnTo>
                    <a:pt x="0" y="139"/>
                  </a:lnTo>
                  <a:lnTo>
                    <a:pt x="2" y="104"/>
                  </a:lnTo>
                  <a:lnTo>
                    <a:pt x="6" y="74"/>
                  </a:lnTo>
                  <a:lnTo>
                    <a:pt x="13" y="50"/>
                  </a:lnTo>
                  <a:lnTo>
                    <a:pt x="22" y="32"/>
                  </a:lnTo>
                  <a:lnTo>
                    <a:pt x="36" y="17"/>
                  </a:lnTo>
                  <a:lnTo>
                    <a:pt x="53" y="7"/>
                  </a:lnTo>
                  <a:lnTo>
                    <a:pt x="73" y="1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1" name="Freeform 172">
              <a:extLst>
                <a:ext uri="{FF2B5EF4-FFF2-40B4-BE49-F238E27FC236}">
                  <a16:creationId xmlns:a16="http://schemas.microsoft.com/office/drawing/2014/main" id="{036CA845-071D-493E-BA0A-40E671527B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01409" y="2486026"/>
              <a:ext cx="71438" cy="107950"/>
            </a:xfrm>
            <a:custGeom>
              <a:avLst/>
              <a:gdLst>
                <a:gd name="T0" fmla="*/ 122 w 179"/>
                <a:gd name="T1" fmla="*/ 0 h 271"/>
                <a:gd name="T2" fmla="*/ 139 w 179"/>
                <a:gd name="T3" fmla="*/ 2 h 271"/>
                <a:gd name="T4" fmla="*/ 153 w 179"/>
                <a:gd name="T5" fmla="*/ 8 h 271"/>
                <a:gd name="T6" fmla="*/ 164 w 179"/>
                <a:gd name="T7" fmla="*/ 18 h 271"/>
                <a:gd name="T8" fmla="*/ 172 w 179"/>
                <a:gd name="T9" fmla="*/ 33 h 271"/>
                <a:gd name="T10" fmla="*/ 177 w 179"/>
                <a:gd name="T11" fmla="*/ 50 h 271"/>
                <a:gd name="T12" fmla="*/ 179 w 179"/>
                <a:gd name="T13" fmla="*/ 73 h 271"/>
                <a:gd name="T14" fmla="*/ 179 w 179"/>
                <a:gd name="T15" fmla="*/ 271 h 271"/>
                <a:gd name="T16" fmla="*/ 151 w 179"/>
                <a:gd name="T17" fmla="*/ 271 h 271"/>
                <a:gd name="T18" fmla="*/ 151 w 179"/>
                <a:gd name="T19" fmla="*/ 82 h 271"/>
                <a:gd name="T20" fmla="*/ 149 w 179"/>
                <a:gd name="T21" fmla="*/ 62 h 271"/>
                <a:gd name="T22" fmla="*/ 146 w 179"/>
                <a:gd name="T23" fmla="*/ 47 h 271"/>
                <a:gd name="T24" fmla="*/ 138 w 179"/>
                <a:gd name="T25" fmla="*/ 38 h 271"/>
                <a:gd name="T26" fmla="*/ 128 w 179"/>
                <a:gd name="T27" fmla="*/ 32 h 271"/>
                <a:gd name="T28" fmla="*/ 114 w 179"/>
                <a:gd name="T29" fmla="*/ 30 h 271"/>
                <a:gd name="T30" fmla="*/ 98 w 179"/>
                <a:gd name="T31" fmla="*/ 32 h 271"/>
                <a:gd name="T32" fmla="*/ 82 w 179"/>
                <a:gd name="T33" fmla="*/ 38 h 271"/>
                <a:gd name="T34" fmla="*/ 65 w 179"/>
                <a:gd name="T35" fmla="*/ 47 h 271"/>
                <a:gd name="T36" fmla="*/ 47 w 179"/>
                <a:gd name="T37" fmla="*/ 59 h 271"/>
                <a:gd name="T38" fmla="*/ 27 w 179"/>
                <a:gd name="T39" fmla="*/ 76 h 271"/>
                <a:gd name="T40" fmla="*/ 27 w 179"/>
                <a:gd name="T41" fmla="*/ 271 h 271"/>
                <a:gd name="T42" fmla="*/ 0 w 179"/>
                <a:gd name="T43" fmla="*/ 271 h 271"/>
                <a:gd name="T44" fmla="*/ 0 w 179"/>
                <a:gd name="T45" fmla="*/ 7 h 271"/>
                <a:gd name="T46" fmla="*/ 22 w 179"/>
                <a:gd name="T47" fmla="*/ 7 h 271"/>
                <a:gd name="T48" fmla="*/ 25 w 179"/>
                <a:gd name="T49" fmla="*/ 50 h 271"/>
                <a:gd name="T50" fmla="*/ 50 w 179"/>
                <a:gd name="T51" fmla="*/ 30 h 271"/>
                <a:gd name="T52" fmla="*/ 73 w 179"/>
                <a:gd name="T53" fmla="*/ 14 h 271"/>
                <a:gd name="T54" fmla="*/ 97 w 179"/>
                <a:gd name="T55" fmla="*/ 4 h 271"/>
                <a:gd name="T56" fmla="*/ 122 w 179"/>
                <a:gd name="T57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9" h="271">
                  <a:moveTo>
                    <a:pt x="122" y="0"/>
                  </a:moveTo>
                  <a:lnTo>
                    <a:pt x="139" y="2"/>
                  </a:lnTo>
                  <a:lnTo>
                    <a:pt x="153" y="8"/>
                  </a:lnTo>
                  <a:lnTo>
                    <a:pt x="164" y="18"/>
                  </a:lnTo>
                  <a:lnTo>
                    <a:pt x="172" y="33"/>
                  </a:lnTo>
                  <a:lnTo>
                    <a:pt x="177" y="50"/>
                  </a:lnTo>
                  <a:lnTo>
                    <a:pt x="179" y="73"/>
                  </a:lnTo>
                  <a:lnTo>
                    <a:pt x="179" y="271"/>
                  </a:lnTo>
                  <a:lnTo>
                    <a:pt x="151" y="271"/>
                  </a:lnTo>
                  <a:lnTo>
                    <a:pt x="151" y="82"/>
                  </a:lnTo>
                  <a:lnTo>
                    <a:pt x="149" y="62"/>
                  </a:lnTo>
                  <a:lnTo>
                    <a:pt x="146" y="47"/>
                  </a:lnTo>
                  <a:lnTo>
                    <a:pt x="138" y="38"/>
                  </a:lnTo>
                  <a:lnTo>
                    <a:pt x="128" y="32"/>
                  </a:lnTo>
                  <a:lnTo>
                    <a:pt x="114" y="30"/>
                  </a:lnTo>
                  <a:lnTo>
                    <a:pt x="98" y="32"/>
                  </a:lnTo>
                  <a:lnTo>
                    <a:pt x="82" y="38"/>
                  </a:lnTo>
                  <a:lnTo>
                    <a:pt x="65" y="47"/>
                  </a:lnTo>
                  <a:lnTo>
                    <a:pt x="47" y="59"/>
                  </a:lnTo>
                  <a:lnTo>
                    <a:pt x="27" y="76"/>
                  </a:lnTo>
                  <a:lnTo>
                    <a:pt x="27" y="271"/>
                  </a:lnTo>
                  <a:lnTo>
                    <a:pt x="0" y="271"/>
                  </a:lnTo>
                  <a:lnTo>
                    <a:pt x="0" y="7"/>
                  </a:lnTo>
                  <a:lnTo>
                    <a:pt x="22" y="7"/>
                  </a:lnTo>
                  <a:lnTo>
                    <a:pt x="25" y="50"/>
                  </a:lnTo>
                  <a:lnTo>
                    <a:pt x="50" y="30"/>
                  </a:lnTo>
                  <a:lnTo>
                    <a:pt x="73" y="14"/>
                  </a:lnTo>
                  <a:lnTo>
                    <a:pt x="97" y="4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2" name="Freeform 173">
              <a:extLst>
                <a:ext uri="{FF2B5EF4-FFF2-40B4-BE49-F238E27FC236}">
                  <a16:creationId xmlns:a16="http://schemas.microsoft.com/office/drawing/2014/main" id="{39859A77-A7F0-412C-B636-DBF54B1077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10946" y="2486026"/>
              <a:ext cx="68263" cy="109538"/>
            </a:xfrm>
            <a:custGeom>
              <a:avLst/>
              <a:gdLst>
                <a:gd name="T0" fmla="*/ 109 w 173"/>
                <a:gd name="T1" fmla="*/ 1 h 277"/>
                <a:gd name="T2" fmla="*/ 167 w 173"/>
                <a:gd name="T3" fmla="*/ 8 h 277"/>
                <a:gd name="T4" fmla="*/ 125 w 173"/>
                <a:gd name="T5" fmla="*/ 31 h 277"/>
                <a:gd name="T6" fmla="*/ 69 w 173"/>
                <a:gd name="T7" fmla="*/ 30 h 277"/>
                <a:gd name="T8" fmla="*/ 45 w 173"/>
                <a:gd name="T9" fmla="*/ 33 h 277"/>
                <a:gd name="T10" fmla="*/ 31 w 173"/>
                <a:gd name="T11" fmla="*/ 46 h 277"/>
                <a:gd name="T12" fmla="*/ 28 w 173"/>
                <a:gd name="T13" fmla="*/ 72 h 277"/>
                <a:gd name="T14" fmla="*/ 32 w 173"/>
                <a:gd name="T15" fmla="*/ 99 h 277"/>
                <a:gd name="T16" fmla="*/ 48 w 173"/>
                <a:gd name="T17" fmla="*/ 113 h 277"/>
                <a:gd name="T18" fmla="*/ 124 w 173"/>
                <a:gd name="T19" fmla="*/ 131 h 277"/>
                <a:gd name="T20" fmla="*/ 151 w 173"/>
                <a:gd name="T21" fmla="*/ 144 h 277"/>
                <a:gd name="T22" fmla="*/ 167 w 173"/>
                <a:gd name="T23" fmla="*/ 166 h 277"/>
                <a:gd name="T24" fmla="*/ 173 w 173"/>
                <a:gd name="T25" fmla="*/ 203 h 277"/>
                <a:gd name="T26" fmla="*/ 167 w 173"/>
                <a:gd name="T27" fmla="*/ 241 h 277"/>
                <a:gd name="T28" fmla="*/ 151 w 173"/>
                <a:gd name="T29" fmla="*/ 264 h 277"/>
                <a:gd name="T30" fmla="*/ 124 w 173"/>
                <a:gd name="T31" fmla="*/ 274 h 277"/>
                <a:gd name="T32" fmla="*/ 86 w 173"/>
                <a:gd name="T33" fmla="*/ 277 h 277"/>
                <a:gd name="T34" fmla="*/ 38 w 173"/>
                <a:gd name="T35" fmla="*/ 274 h 277"/>
                <a:gd name="T36" fmla="*/ 7 w 173"/>
                <a:gd name="T37" fmla="*/ 245 h 277"/>
                <a:gd name="T38" fmla="*/ 81 w 173"/>
                <a:gd name="T39" fmla="*/ 248 h 277"/>
                <a:gd name="T40" fmla="*/ 120 w 173"/>
                <a:gd name="T41" fmla="*/ 245 h 277"/>
                <a:gd name="T42" fmla="*/ 140 w 173"/>
                <a:gd name="T43" fmla="*/ 231 h 277"/>
                <a:gd name="T44" fmla="*/ 146 w 173"/>
                <a:gd name="T45" fmla="*/ 203 h 277"/>
                <a:gd name="T46" fmla="*/ 142 w 173"/>
                <a:gd name="T47" fmla="*/ 179 h 277"/>
                <a:gd name="T48" fmla="*/ 130 w 173"/>
                <a:gd name="T49" fmla="*/ 166 h 277"/>
                <a:gd name="T50" fmla="*/ 112 w 173"/>
                <a:gd name="T51" fmla="*/ 160 h 277"/>
                <a:gd name="T52" fmla="*/ 32 w 173"/>
                <a:gd name="T53" fmla="*/ 139 h 277"/>
                <a:gd name="T54" fmla="*/ 12 w 173"/>
                <a:gd name="T55" fmla="*/ 122 h 277"/>
                <a:gd name="T56" fmla="*/ 2 w 173"/>
                <a:gd name="T57" fmla="*/ 92 h 277"/>
                <a:gd name="T58" fmla="*/ 2 w 173"/>
                <a:gd name="T59" fmla="*/ 50 h 277"/>
                <a:gd name="T60" fmla="*/ 12 w 173"/>
                <a:gd name="T61" fmla="*/ 22 h 277"/>
                <a:gd name="T62" fmla="*/ 31 w 173"/>
                <a:gd name="T63" fmla="*/ 6 h 277"/>
                <a:gd name="T64" fmla="*/ 62 w 173"/>
                <a:gd name="T65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3" h="277">
                  <a:moveTo>
                    <a:pt x="81" y="0"/>
                  </a:moveTo>
                  <a:lnTo>
                    <a:pt x="109" y="1"/>
                  </a:lnTo>
                  <a:lnTo>
                    <a:pt x="139" y="4"/>
                  </a:lnTo>
                  <a:lnTo>
                    <a:pt x="167" y="8"/>
                  </a:lnTo>
                  <a:lnTo>
                    <a:pt x="165" y="33"/>
                  </a:lnTo>
                  <a:lnTo>
                    <a:pt x="125" y="31"/>
                  </a:lnTo>
                  <a:lnTo>
                    <a:pt x="84" y="30"/>
                  </a:lnTo>
                  <a:lnTo>
                    <a:pt x="69" y="30"/>
                  </a:lnTo>
                  <a:lnTo>
                    <a:pt x="55" y="31"/>
                  </a:lnTo>
                  <a:lnTo>
                    <a:pt x="45" y="33"/>
                  </a:lnTo>
                  <a:lnTo>
                    <a:pt x="37" y="38"/>
                  </a:lnTo>
                  <a:lnTo>
                    <a:pt x="31" y="46"/>
                  </a:lnTo>
                  <a:lnTo>
                    <a:pt x="29" y="57"/>
                  </a:lnTo>
                  <a:lnTo>
                    <a:pt x="28" y="72"/>
                  </a:lnTo>
                  <a:lnTo>
                    <a:pt x="29" y="88"/>
                  </a:lnTo>
                  <a:lnTo>
                    <a:pt x="32" y="99"/>
                  </a:lnTo>
                  <a:lnTo>
                    <a:pt x="39" y="107"/>
                  </a:lnTo>
                  <a:lnTo>
                    <a:pt x="48" y="113"/>
                  </a:lnTo>
                  <a:lnTo>
                    <a:pt x="60" y="116"/>
                  </a:lnTo>
                  <a:lnTo>
                    <a:pt x="124" y="131"/>
                  </a:lnTo>
                  <a:lnTo>
                    <a:pt x="139" y="137"/>
                  </a:lnTo>
                  <a:lnTo>
                    <a:pt x="151" y="144"/>
                  </a:lnTo>
                  <a:lnTo>
                    <a:pt x="162" y="154"/>
                  </a:lnTo>
                  <a:lnTo>
                    <a:pt x="167" y="166"/>
                  </a:lnTo>
                  <a:lnTo>
                    <a:pt x="172" y="182"/>
                  </a:lnTo>
                  <a:lnTo>
                    <a:pt x="173" y="203"/>
                  </a:lnTo>
                  <a:lnTo>
                    <a:pt x="172" y="224"/>
                  </a:lnTo>
                  <a:lnTo>
                    <a:pt x="167" y="241"/>
                  </a:lnTo>
                  <a:lnTo>
                    <a:pt x="161" y="255"/>
                  </a:lnTo>
                  <a:lnTo>
                    <a:pt x="151" y="264"/>
                  </a:lnTo>
                  <a:lnTo>
                    <a:pt x="139" y="271"/>
                  </a:lnTo>
                  <a:lnTo>
                    <a:pt x="124" y="274"/>
                  </a:lnTo>
                  <a:lnTo>
                    <a:pt x="106" y="277"/>
                  </a:lnTo>
                  <a:lnTo>
                    <a:pt x="86" y="277"/>
                  </a:lnTo>
                  <a:lnTo>
                    <a:pt x="65" y="277"/>
                  </a:lnTo>
                  <a:lnTo>
                    <a:pt x="38" y="274"/>
                  </a:lnTo>
                  <a:lnTo>
                    <a:pt x="5" y="270"/>
                  </a:lnTo>
                  <a:lnTo>
                    <a:pt x="7" y="245"/>
                  </a:lnTo>
                  <a:lnTo>
                    <a:pt x="42" y="247"/>
                  </a:lnTo>
                  <a:lnTo>
                    <a:pt x="81" y="248"/>
                  </a:lnTo>
                  <a:lnTo>
                    <a:pt x="103" y="247"/>
                  </a:lnTo>
                  <a:lnTo>
                    <a:pt x="120" y="245"/>
                  </a:lnTo>
                  <a:lnTo>
                    <a:pt x="132" y="239"/>
                  </a:lnTo>
                  <a:lnTo>
                    <a:pt x="140" y="231"/>
                  </a:lnTo>
                  <a:lnTo>
                    <a:pt x="145" y="219"/>
                  </a:lnTo>
                  <a:lnTo>
                    <a:pt x="146" y="203"/>
                  </a:lnTo>
                  <a:lnTo>
                    <a:pt x="145" y="189"/>
                  </a:lnTo>
                  <a:lnTo>
                    <a:pt x="142" y="179"/>
                  </a:lnTo>
                  <a:lnTo>
                    <a:pt x="137" y="171"/>
                  </a:lnTo>
                  <a:lnTo>
                    <a:pt x="130" y="166"/>
                  </a:lnTo>
                  <a:lnTo>
                    <a:pt x="122" y="162"/>
                  </a:lnTo>
                  <a:lnTo>
                    <a:pt x="112" y="160"/>
                  </a:lnTo>
                  <a:lnTo>
                    <a:pt x="47" y="144"/>
                  </a:lnTo>
                  <a:lnTo>
                    <a:pt x="32" y="139"/>
                  </a:lnTo>
                  <a:lnTo>
                    <a:pt x="21" y="131"/>
                  </a:lnTo>
                  <a:lnTo>
                    <a:pt x="12" y="122"/>
                  </a:lnTo>
                  <a:lnTo>
                    <a:pt x="5" y="108"/>
                  </a:lnTo>
                  <a:lnTo>
                    <a:pt x="2" y="92"/>
                  </a:lnTo>
                  <a:lnTo>
                    <a:pt x="0" y="72"/>
                  </a:lnTo>
                  <a:lnTo>
                    <a:pt x="2" y="50"/>
                  </a:lnTo>
                  <a:lnTo>
                    <a:pt x="5" y="34"/>
                  </a:lnTo>
                  <a:lnTo>
                    <a:pt x="12" y="22"/>
                  </a:lnTo>
                  <a:lnTo>
                    <a:pt x="20" y="12"/>
                  </a:lnTo>
                  <a:lnTo>
                    <a:pt x="31" y="6"/>
                  </a:lnTo>
                  <a:lnTo>
                    <a:pt x="46" y="2"/>
                  </a:lnTo>
                  <a:lnTo>
                    <a:pt x="62" y="0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3" name="Freeform 174">
              <a:extLst>
                <a:ext uri="{FF2B5EF4-FFF2-40B4-BE49-F238E27FC236}">
                  <a16:creationId xmlns:a16="http://schemas.microsoft.com/office/drawing/2014/main" id="{0D888382-E16F-40C3-8997-B30E9010C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18896" y="2489201"/>
              <a:ext cx="69850" cy="107950"/>
            </a:xfrm>
            <a:custGeom>
              <a:avLst/>
              <a:gdLst>
                <a:gd name="T0" fmla="*/ 0 w 174"/>
                <a:gd name="T1" fmla="*/ 0 h 271"/>
                <a:gd name="T2" fmla="*/ 28 w 174"/>
                <a:gd name="T3" fmla="*/ 0 h 271"/>
                <a:gd name="T4" fmla="*/ 28 w 174"/>
                <a:gd name="T5" fmla="*/ 189 h 271"/>
                <a:gd name="T6" fmla="*/ 29 w 174"/>
                <a:gd name="T7" fmla="*/ 208 h 271"/>
                <a:gd name="T8" fmla="*/ 34 w 174"/>
                <a:gd name="T9" fmla="*/ 223 h 271"/>
                <a:gd name="T10" fmla="*/ 40 w 174"/>
                <a:gd name="T11" fmla="*/ 233 h 271"/>
                <a:gd name="T12" fmla="*/ 52 w 174"/>
                <a:gd name="T13" fmla="*/ 239 h 271"/>
                <a:gd name="T14" fmla="*/ 67 w 174"/>
                <a:gd name="T15" fmla="*/ 241 h 271"/>
                <a:gd name="T16" fmla="*/ 81 w 174"/>
                <a:gd name="T17" fmla="*/ 239 h 271"/>
                <a:gd name="T18" fmla="*/ 96 w 174"/>
                <a:gd name="T19" fmla="*/ 233 h 271"/>
                <a:gd name="T20" fmla="*/ 112 w 174"/>
                <a:gd name="T21" fmla="*/ 224 h 271"/>
                <a:gd name="T22" fmla="*/ 129 w 174"/>
                <a:gd name="T23" fmla="*/ 213 h 271"/>
                <a:gd name="T24" fmla="*/ 147 w 174"/>
                <a:gd name="T25" fmla="*/ 197 h 271"/>
                <a:gd name="T26" fmla="*/ 147 w 174"/>
                <a:gd name="T27" fmla="*/ 0 h 271"/>
                <a:gd name="T28" fmla="*/ 174 w 174"/>
                <a:gd name="T29" fmla="*/ 0 h 271"/>
                <a:gd name="T30" fmla="*/ 174 w 174"/>
                <a:gd name="T31" fmla="*/ 264 h 271"/>
                <a:gd name="T32" fmla="*/ 153 w 174"/>
                <a:gd name="T33" fmla="*/ 264 h 271"/>
                <a:gd name="T34" fmla="*/ 151 w 174"/>
                <a:gd name="T35" fmla="*/ 223 h 271"/>
                <a:gd name="T36" fmla="*/ 127 w 174"/>
                <a:gd name="T37" fmla="*/ 244 h 271"/>
                <a:gd name="T38" fmla="*/ 103 w 174"/>
                <a:gd name="T39" fmla="*/ 258 h 271"/>
                <a:gd name="T40" fmla="*/ 80 w 174"/>
                <a:gd name="T41" fmla="*/ 267 h 271"/>
                <a:gd name="T42" fmla="*/ 57 w 174"/>
                <a:gd name="T43" fmla="*/ 271 h 271"/>
                <a:gd name="T44" fmla="*/ 40 w 174"/>
                <a:gd name="T45" fmla="*/ 269 h 271"/>
                <a:gd name="T46" fmla="*/ 26 w 174"/>
                <a:gd name="T47" fmla="*/ 263 h 271"/>
                <a:gd name="T48" fmla="*/ 14 w 174"/>
                <a:gd name="T49" fmla="*/ 253 h 271"/>
                <a:gd name="T50" fmla="*/ 6 w 174"/>
                <a:gd name="T51" fmla="*/ 239 h 271"/>
                <a:gd name="T52" fmla="*/ 2 w 174"/>
                <a:gd name="T53" fmla="*/ 221 h 271"/>
                <a:gd name="T54" fmla="*/ 0 w 174"/>
                <a:gd name="T55" fmla="*/ 199 h 271"/>
                <a:gd name="T56" fmla="*/ 0 w 174"/>
                <a:gd name="T57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4" h="271">
                  <a:moveTo>
                    <a:pt x="0" y="0"/>
                  </a:moveTo>
                  <a:lnTo>
                    <a:pt x="28" y="0"/>
                  </a:lnTo>
                  <a:lnTo>
                    <a:pt x="28" y="189"/>
                  </a:lnTo>
                  <a:lnTo>
                    <a:pt x="29" y="208"/>
                  </a:lnTo>
                  <a:lnTo>
                    <a:pt x="34" y="223"/>
                  </a:lnTo>
                  <a:lnTo>
                    <a:pt x="40" y="233"/>
                  </a:lnTo>
                  <a:lnTo>
                    <a:pt x="52" y="239"/>
                  </a:lnTo>
                  <a:lnTo>
                    <a:pt x="67" y="241"/>
                  </a:lnTo>
                  <a:lnTo>
                    <a:pt x="81" y="239"/>
                  </a:lnTo>
                  <a:lnTo>
                    <a:pt x="96" y="233"/>
                  </a:lnTo>
                  <a:lnTo>
                    <a:pt x="112" y="224"/>
                  </a:lnTo>
                  <a:lnTo>
                    <a:pt x="129" y="213"/>
                  </a:lnTo>
                  <a:lnTo>
                    <a:pt x="147" y="197"/>
                  </a:lnTo>
                  <a:lnTo>
                    <a:pt x="147" y="0"/>
                  </a:lnTo>
                  <a:lnTo>
                    <a:pt x="174" y="0"/>
                  </a:lnTo>
                  <a:lnTo>
                    <a:pt x="174" y="264"/>
                  </a:lnTo>
                  <a:lnTo>
                    <a:pt x="153" y="264"/>
                  </a:lnTo>
                  <a:lnTo>
                    <a:pt x="151" y="223"/>
                  </a:lnTo>
                  <a:lnTo>
                    <a:pt x="127" y="244"/>
                  </a:lnTo>
                  <a:lnTo>
                    <a:pt x="103" y="258"/>
                  </a:lnTo>
                  <a:lnTo>
                    <a:pt x="80" y="267"/>
                  </a:lnTo>
                  <a:lnTo>
                    <a:pt x="57" y="271"/>
                  </a:lnTo>
                  <a:lnTo>
                    <a:pt x="40" y="269"/>
                  </a:lnTo>
                  <a:lnTo>
                    <a:pt x="26" y="263"/>
                  </a:lnTo>
                  <a:lnTo>
                    <a:pt x="14" y="253"/>
                  </a:lnTo>
                  <a:lnTo>
                    <a:pt x="6" y="239"/>
                  </a:lnTo>
                  <a:lnTo>
                    <a:pt x="2" y="221"/>
                  </a:lnTo>
                  <a:lnTo>
                    <a:pt x="0" y="1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4" name="Freeform 175">
              <a:extLst>
                <a:ext uri="{FF2B5EF4-FFF2-40B4-BE49-F238E27FC236}">
                  <a16:creationId xmlns:a16="http://schemas.microsoft.com/office/drawing/2014/main" id="{0038F2F7-9305-491C-BDA4-B36A14284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33196" y="2443163"/>
              <a:ext cx="33338" cy="152400"/>
            </a:xfrm>
            <a:custGeom>
              <a:avLst/>
              <a:gdLst>
                <a:gd name="T0" fmla="*/ 0 w 84"/>
                <a:gd name="T1" fmla="*/ 0 h 386"/>
                <a:gd name="T2" fmla="*/ 27 w 84"/>
                <a:gd name="T3" fmla="*/ 0 h 386"/>
                <a:gd name="T4" fmla="*/ 27 w 84"/>
                <a:gd name="T5" fmla="*/ 316 h 386"/>
                <a:gd name="T6" fmla="*/ 29 w 84"/>
                <a:gd name="T7" fmla="*/ 332 h 386"/>
                <a:gd name="T8" fmla="*/ 35 w 84"/>
                <a:gd name="T9" fmla="*/ 345 h 386"/>
                <a:gd name="T10" fmla="*/ 45 w 84"/>
                <a:gd name="T11" fmla="*/ 351 h 386"/>
                <a:gd name="T12" fmla="*/ 58 w 84"/>
                <a:gd name="T13" fmla="*/ 354 h 386"/>
                <a:gd name="T14" fmla="*/ 80 w 84"/>
                <a:gd name="T15" fmla="*/ 354 h 386"/>
                <a:gd name="T16" fmla="*/ 84 w 84"/>
                <a:gd name="T17" fmla="*/ 380 h 386"/>
                <a:gd name="T18" fmla="*/ 74 w 84"/>
                <a:gd name="T19" fmla="*/ 383 h 386"/>
                <a:gd name="T20" fmla="*/ 60 w 84"/>
                <a:gd name="T21" fmla="*/ 384 h 386"/>
                <a:gd name="T22" fmla="*/ 49 w 84"/>
                <a:gd name="T23" fmla="*/ 386 h 386"/>
                <a:gd name="T24" fmla="*/ 33 w 84"/>
                <a:gd name="T25" fmla="*/ 383 h 386"/>
                <a:gd name="T26" fmla="*/ 19 w 84"/>
                <a:gd name="T27" fmla="*/ 375 h 386"/>
                <a:gd name="T28" fmla="*/ 9 w 84"/>
                <a:gd name="T29" fmla="*/ 362 h 386"/>
                <a:gd name="T30" fmla="*/ 2 w 84"/>
                <a:gd name="T31" fmla="*/ 345 h 386"/>
                <a:gd name="T32" fmla="*/ 0 w 84"/>
                <a:gd name="T33" fmla="*/ 322 h 386"/>
                <a:gd name="T34" fmla="*/ 0 w 84"/>
                <a:gd name="T35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4" h="386">
                  <a:moveTo>
                    <a:pt x="0" y="0"/>
                  </a:moveTo>
                  <a:lnTo>
                    <a:pt x="27" y="0"/>
                  </a:lnTo>
                  <a:lnTo>
                    <a:pt x="27" y="316"/>
                  </a:lnTo>
                  <a:lnTo>
                    <a:pt x="29" y="332"/>
                  </a:lnTo>
                  <a:lnTo>
                    <a:pt x="35" y="345"/>
                  </a:lnTo>
                  <a:lnTo>
                    <a:pt x="45" y="351"/>
                  </a:lnTo>
                  <a:lnTo>
                    <a:pt x="58" y="354"/>
                  </a:lnTo>
                  <a:lnTo>
                    <a:pt x="80" y="354"/>
                  </a:lnTo>
                  <a:lnTo>
                    <a:pt x="84" y="380"/>
                  </a:lnTo>
                  <a:lnTo>
                    <a:pt x="74" y="383"/>
                  </a:lnTo>
                  <a:lnTo>
                    <a:pt x="60" y="384"/>
                  </a:lnTo>
                  <a:lnTo>
                    <a:pt x="49" y="386"/>
                  </a:lnTo>
                  <a:lnTo>
                    <a:pt x="33" y="383"/>
                  </a:lnTo>
                  <a:lnTo>
                    <a:pt x="19" y="375"/>
                  </a:lnTo>
                  <a:lnTo>
                    <a:pt x="9" y="362"/>
                  </a:lnTo>
                  <a:lnTo>
                    <a:pt x="2" y="345"/>
                  </a:lnTo>
                  <a:lnTo>
                    <a:pt x="0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" name="Freeform 176">
              <a:extLst>
                <a:ext uri="{FF2B5EF4-FFF2-40B4-BE49-F238E27FC236}">
                  <a16:creationId xmlns:a16="http://schemas.microsoft.com/office/drawing/2014/main" id="{5C365E17-EAE5-4304-80C6-A852585464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8759" y="2457451"/>
              <a:ext cx="53975" cy="138113"/>
            </a:xfrm>
            <a:custGeom>
              <a:avLst/>
              <a:gdLst>
                <a:gd name="T0" fmla="*/ 38 w 137"/>
                <a:gd name="T1" fmla="*/ 0 h 349"/>
                <a:gd name="T2" fmla="*/ 66 w 137"/>
                <a:gd name="T3" fmla="*/ 0 h 349"/>
                <a:gd name="T4" fmla="*/ 66 w 137"/>
                <a:gd name="T5" fmla="*/ 80 h 349"/>
                <a:gd name="T6" fmla="*/ 137 w 137"/>
                <a:gd name="T7" fmla="*/ 80 h 349"/>
                <a:gd name="T8" fmla="*/ 137 w 137"/>
                <a:gd name="T9" fmla="*/ 107 h 349"/>
                <a:gd name="T10" fmla="*/ 66 w 137"/>
                <a:gd name="T11" fmla="*/ 107 h 349"/>
                <a:gd name="T12" fmla="*/ 66 w 137"/>
                <a:gd name="T13" fmla="*/ 279 h 349"/>
                <a:gd name="T14" fmla="*/ 67 w 137"/>
                <a:gd name="T15" fmla="*/ 293 h 349"/>
                <a:gd name="T16" fmla="*/ 71 w 137"/>
                <a:gd name="T17" fmla="*/ 304 h 349"/>
                <a:gd name="T18" fmla="*/ 76 w 137"/>
                <a:gd name="T19" fmla="*/ 311 h 349"/>
                <a:gd name="T20" fmla="*/ 85 w 137"/>
                <a:gd name="T21" fmla="*/ 316 h 349"/>
                <a:gd name="T22" fmla="*/ 97 w 137"/>
                <a:gd name="T23" fmla="*/ 317 h 349"/>
                <a:gd name="T24" fmla="*/ 131 w 137"/>
                <a:gd name="T25" fmla="*/ 317 h 349"/>
                <a:gd name="T26" fmla="*/ 134 w 137"/>
                <a:gd name="T27" fmla="*/ 343 h 349"/>
                <a:gd name="T28" fmla="*/ 123 w 137"/>
                <a:gd name="T29" fmla="*/ 345 h 349"/>
                <a:gd name="T30" fmla="*/ 110 w 137"/>
                <a:gd name="T31" fmla="*/ 347 h 349"/>
                <a:gd name="T32" fmla="*/ 99 w 137"/>
                <a:gd name="T33" fmla="*/ 349 h 349"/>
                <a:gd name="T34" fmla="*/ 90 w 137"/>
                <a:gd name="T35" fmla="*/ 349 h 349"/>
                <a:gd name="T36" fmla="*/ 74 w 137"/>
                <a:gd name="T37" fmla="*/ 346 h 349"/>
                <a:gd name="T38" fmla="*/ 62 w 137"/>
                <a:gd name="T39" fmla="*/ 341 h 349"/>
                <a:gd name="T40" fmla="*/ 51 w 137"/>
                <a:gd name="T41" fmla="*/ 332 h 349"/>
                <a:gd name="T42" fmla="*/ 43 w 137"/>
                <a:gd name="T43" fmla="*/ 319 h 349"/>
                <a:gd name="T44" fmla="*/ 40 w 137"/>
                <a:gd name="T45" fmla="*/ 302 h 349"/>
                <a:gd name="T46" fmla="*/ 38 w 137"/>
                <a:gd name="T47" fmla="*/ 283 h 349"/>
                <a:gd name="T48" fmla="*/ 38 w 137"/>
                <a:gd name="T49" fmla="*/ 107 h 349"/>
                <a:gd name="T50" fmla="*/ 0 w 137"/>
                <a:gd name="T51" fmla="*/ 107 h 349"/>
                <a:gd name="T52" fmla="*/ 0 w 137"/>
                <a:gd name="T53" fmla="*/ 82 h 349"/>
                <a:gd name="T54" fmla="*/ 38 w 137"/>
                <a:gd name="T55" fmla="*/ 80 h 349"/>
                <a:gd name="T56" fmla="*/ 38 w 137"/>
                <a:gd name="T57" fmla="*/ 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349">
                  <a:moveTo>
                    <a:pt x="38" y="0"/>
                  </a:moveTo>
                  <a:lnTo>
                    <a:pt x="66" y="0"/>
                  </a:lnTo>
                  <a:lnTo>
                    <a:pt x="66" y="80"/>
                  </a:lnTo>
                  <a:lnTo>
                    <a:pt x="137" y="80"/>
                  </a:lnTo>
                  <a:lnTo>
                    <a:pt x="137" y="107"/>
                  </a:lnTo>
                  <a:lnTo>
                    <a:pt x="66" y="107"/>
                  </a:lnTo>
                  <a:lnTo>
                    <a:pt x="66" y="279"/>
                  </a:lnTo>
                  <a:lnTo>
                    <a:pt x="67" y="293"/>
                  </a:lnTo>
                  <a:lnTo>
                    <a:pt x="71" y="304"/>
                  </a:lnTo>
                  <a:lnTo>
                    <a:pt x="76" y="311"/>
                  </a:lnTo>
                  <a:lnTo>
                    <a:pt x="85" y="316"/>
                  </a:lnTo>
                  <a:lnTo>
                    <a:pt x="97" y="317"/>
                  </a:lnTo>
                  <a:lnTo>
                    <a:pt x="131" y="317"/>
                  </a:lnTo>
                  <a:lnTo>
                    <a:pt x="134" y="343"/>
                  </a:lnTo>
                  <a:lnTo>
                    <a:pt x="123" y="345"/>
                  </a:lnTo>
                  <a:lnTo>
                    <a:pt x="110" y="347"/>
                  </a:lnTo>
                  <a:lnTo>
                    <a:pt x="99" y="349"/>
                  </a:lnTo>
                  <a:lnTo>
                    <a:pt x="90" y="349"/>
                  </a:lnTo>
                  <a:lnTo>
                    <a:pt x="74" y="346"/>
                  </a:lnTo>
                  <a:lnTo>
                    <a:pt x="62" y="341"/>
                  </a:lnTo>
                  <a:lnTo>
                    <a:pt x="51" y="332"/>
                  </a:lnTo>
                  <a:lnTo>
                    <a:pt x="43" y="319"/>
                  </a:lnTo>
                  <a:lnTo>
                    <a:pt x="40" y="302"/>
                  </a:lnTo>
                  <a:lnTo>
                    <a:pt x="38" y="283"/>
                  </a:lnTo>
                  <a:lnTo>
                    <a:pt x="38" y="107"/>
                  </a:lnTo>
                  <a:lnTo>
                    <a:pt x="0" y="107"/>
                  </a:lnTo>
                  <a:lnTo>
                    <a:pt x="0" y="82"/>
                  </a:lnTo>
                  <a:lnTo>
                    <a:pt x="38" y="8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" name="Freeform 177">
              <a:extLst>
                <a:ext uri="{FF2B5EF4-FFF2-40B4-BE49-F238E27FC236}">
                  <a16:creationId xmlns:a16="http://schemas.microsoft.com/office/drawing/2014/main" id="{858D88D2-A448-4F4E-A2E6-03A5737E75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71309" y="2486026"/>
              <a:ext cx="71438" cy="109538"/>
            </a:xfrm>
            <a:custGeom>
              <a:avLst/>
              <a:gdLst>
                <a:gd name="T0" fmla="*/ 49 w 179"/>
                <a:gd name="T1" fmla="*/ 139 h 276"/>
                <a:gd name="T2" fmla="*/ 33 w 179"/>
                <a:gd name="T3" fmla="*/ 153 h 276"/>
                <a:gd name="T4" fmla="*/ 29 w 179"/>
                <a:gd name="T5" fmla="*/ 178 h 276"/>
                <a:gd name="T6" fmla="*/ 30 w 179"/>
                <a:gd name="T7" fmla="*/ 216 h 276"/>
                <a:gd name="T8" fmla="*/ 42 w 179"/>
                <a:gd name="T9" fmla="*/ 238 h 276"/>
                <a:gd name="T10" fmla="*/ 66 w 179"/>
                <a:gd name="T11" fmla="*/ 245 h 276"/>
                <a:gd name="T12" fmla="*/ 99 w 179"/>
                <a:gd name="T13" fmla="*/ 238 h 276"/>
                <a:gd name="T14" fmla="*/ 134 w 179"/>
                <a:gd name="T15" fmla="*/ 216 h 276"/>
                <a:gd name="T16" fmla="*/ 150 w 179"/>
                <a:gd name="T17" fmla="*/ 137 h 276"/>
                <a:gd name="T18" fmla="*/ 110 w 179"/>
                <a:gd name="T19" fmla="*/ 0 h 276"/>
                <a:gd name="T20" fmla="*/ 143 w 179"/>
                <a:gd name="T21" fmla="*/ 6 h 276"/>
                <a:gd name="T22" fmla="*/ 165 w 179"/>
                <a:gd name="T23" fmla="*/ 24 h 276"/>
                <a:gd name="T24" fmla="*/ 177 w 179"/>
                <a:gd name="T25" fmla="*/ 58 h 276"/>
                <a:gd name="T26" fmla="*/ 179 w 179"/>
                <a:gd name="T27" fmla="*/ 271 h 276"/>
                <a:gd name="T28" fmla="*/ 154 w 179"/>
                <a:gd name="T29" fmla="*/ 224 h 276"/>
                <a:gd name="T30" fmla="*/ 124 w 179"/>
                <a:gd name="T31" fmla="*/ 252 h 276"/>
                <a:gd name="T32" fmla="*/ 84 w 179"/>
                <a:gd name="T33" fmla="*/ 272 h 276"/>
                <a:gd name="T34" fmla="*/ 44 w 179"/>
                <a:gd name="T35" fmla="*/ 273 h 276"/>
                <a:gd name="T36" fmla="*/ 17 w 179"/>
                <a:gd name="T37" fmla="*/ 257 h 276"/>
                <a:gd name="T38" fmla="*/ 3 w 179"/>
                <a:gd name="T39" fmla="*/ 226 h 276"/>
                <a:gd name="T40" fmla="*/ 0 w 179"/>
                <a:gd name="T41" fmla="*/ 173 h 276"/>
                <a:gd name="T42" fmla="*/ 7 w 179"/>
                <a:gd name="T43" fmla="*/ 139 h 276"/>
                <a:gd name="T44" fmla="*/ 27 w 179"/>
                <a:gd name="T45" fmla="*/ 116 h 276"/>
                <a:gd name="T46" fmla="*/ 56 w 179"/>
                <a:gd name="T47" fmla="*/ 109 h 276"/>
                <a:gd name="T48" fmla="*/ 150 w 179"/>
                <a:gd name="T49" fmla="*/ 81 h 276"/>
                <a:gd name="T50" fmla="*/ 147 w 179"/>
                <a:gd name="T51" fmla="*/ 54 h 276"/>
                <a:gd name="T52" fmla="*/ 133 w 179"/>
                <a:gd name="T53" fmla="*/ 35 h 276"/>
                <a:gd name="T54" fmla="*/ 106 w 179"/>
                <a:gd name="T55" fmla="*/ 30 h 276"/>
                <a:gd name="T56" fmla="*/ 62 w 179"/>
                <a:gd name="T57" fmla="*/ 32 h 276"/>
                <a:gd name="T58" fmla="*/ 12 w 179"/>
                <a:gd name="T59" fmla="*/ 38 h 276"/>
                <a:gd name="T60" fmla="*/ 41 w 179"/>
                <a:gd name="T61" fmla="*/ 7 h 276"/>
                <a:gd name="T62" fmla="*/ 110 w 179"/>
                <a:gd name="T63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9" h="276">
                  <a:moveTo>
                    <a:pt x="61" y="137"/>
                  </a:moveTo>
                  <a:lnTo>
                    <a:pt x="49" y="139"/>
                  </a:lnTo>
                  <a:lnTo>
                    <a:pt x="40" y="145"/>
                  </a:lnTo>
                  <a:lnTo>
                    <a:pt x="33" y="153"/>
                  </a:lnTo>
                  <a:lnTo>
                    <a:pt x="30" y="164"/>
                  </a:lnTo>
                  <a:lnTo>
                    <a:pt x="29" y="178"/>
                  </a:lnTo>
                  <a:lnTo>
                    <a:pt x="29" y="200"/>
                  </a:lnTo>
                  <a:lnTo>
                    <a:pt x="30" y="216"/>
                  </a:lnTo>
                  <a:lnTo>
                    <a:pt x="34" y="229"/>
                  </a:lnTo>
                  <a:lnTo>
                    <a:pt x="42" y="238"/>
                  </a:lnTo>
                  <a:lnTo>
                    <a:pt x="53" y="244"/>
                  </a:lnTo>
                  <a:lnTo>
                    <a:pt x="66" y="245"/>
                  </a:lnTo>
                  <a:lnTo>
                    <a:pt x="82" y="244"/>
                  </a:lnTo>
                  <a:lnTo>
                    <a:pt x="99" y="238"/>
                  </a:lnTo>
                  <a:lnTo>
                    <a:pt x="117" y="229"/>
                  </a:lnTo>
                  <a:lnTo>
                    <a:pt x="134" y="216"/>
                  </a:lnTo>
                  <a:lnTo>
                    <a:pt x="150" y="200"/>
                  </a:lnTo>
                  <a:lnTo>
                    <a:pt x="150" y="137"/>
                  </a:lnTo>
                  <a:lnTo>
                    <a:pt x="61" y="137"/>
                  </a:lnTo>
                  <a:close/>
                  <a:moveTo>
                    <a:pt x="110" y="0"/>
                  </a:moveTo>
                  <a:lnTo>
                    <a:pt x="129" y="1"/>
                  </a:lnTo>
                  <a:lnTo>
                    <a:pt x="143" y="6"/>
                  </a:lnTo>
                  <a:lnTo>
                    <a:pt x="156" y="13"/>
                  </a:lnTo>
                  <a:lnTo>
                    <a:pt x="165" y="24"/>
                  </a:lnTo>
                  <a:lnTo>
                    <a:pt x="173" y="39"/>
                  </a:lnTo>
                  <a:lnTo>
                    <a:pt x="177" y="58"/>
                  </a:lnTo>
                  <a:lnTo>
                    <a:pt x="179" y="81"/>
                  </a:lnTo>
                  <a:lnTo>
                    <a:pt x="179" y="271"/>
                  </a:lnTo>
                  <a:lnTo>
                    <a:pt x="157" y="271"/>
                  </a:lnTo>
                  <a:lnTo>
                    <a:pt x="154" y="224"/>
                  </a:lnTo>
                  <a:lnTo>
                    <a:pt x="141" y="238"/>
                  </a:lnTo>
                  <a:lnTo>
                    <a:pt x="124" y="252"/>
                  </a:lnTo>
                  <a:lnTo>
                    <a:pt x="105" y="264"/>
                  </a:lnTo>
                  <a:lnTo>
                    <a:pt x="84" y="272"/>
                  </a:lnTo>
                  <a:lnTo>
                    <a:pt x="61" y="276"/>
                  </a:lnTo>
                  <a:lnTo>
                    <a:pt x="44" y="273"/>
                  </a:lnTo>
                  <a:lnTo>
                    <a:pt x="29" y="268"/>
                  </a:lnTo>
                  <a:lnTo>
                    <a:pt x="17" y="257"/>
                  </a:lnTo>
                  <a:lnTo>
                    <a:pt x="8" y="244"/>
                  </a:lnTo>
                  <a:lnTo>
                    <a:pt x="3" y="226"/>
                  </a:lnTo>
                  <a:lnTo>
                    <a:pt x="0" y="204"/>
                  </a:lnTo>
                  <a:lnTo>
                    <a:pt x="0" y="173"/>
                  </a:lnTo>
                  <a:lnTo>
                    <a:pt x="3" y="155"/>
                  </a:lnTo>
                  <a:lnTo>
                    <a:pt x="7" y="139"/>
                  </a:lnTo>
                  <a:lnTo>
                    <a:pt x="15" y="127"/>
                  </a:lnTo>
                  <a:lnTo>
                    <a:pt x="27" y="116"/>
                  </a:lnTo>
                  <a:lnTo>
                    <a:pt x="40" y="111"/>
                  </a:lnTo>
                  <a:lnTo>
                    <a:pt x="56" y="109"/>
                  </a:lnTo>
                  <a:lnTo>
                    <a:pt x="150" y="109"/>
                  </a:lnTo>
                  <a:lnTo>
                    <a:pt x="150" y="81"/>
                  </a:lnTo>
                  <a:lnTo>
                    <a:pt x="150" y="66"/>
                  </a:lnTo>
                  <a:lnTo>
                    <a:pt x="147" y="54"/>
                  </a:lnTo>
                  <a:lnTo>
                    <a:pt x="141" y="43"/>
                  </a:lnTo>
                  <a:lnTo>
                    <a:pt x="133" y="35"/>
                  </a:lnTo>
                  <a:lnTo>
                    <a:pt x="121" y="32"/>
                  </a:lnTo>
                  <a:lnTo>
                    <a:pt x="106" y="30"/>
                  </a:lnTo>
                  <a:lnTo>
                    <a:pt x="86" y="31"/>
                  </a:lnTo>
                  <a:lnTo>
                    <a:pt x="62" y="32"/>
                  </a:lnTo>
                  <a:lnTo>
                    <a:pt x="37" y="34"/>
                  </a:lnTo>
                  <a:lnTo>
                    <a:pt x="12" y="38"/>
                  </a:lnTo>
                  <a:lnTo>
                    <a:pt x="9" y="12"/>
                  </a:lnTo>
                  <a:lnTo>
                    <a:pt x="41" y="7"/>
                  </a:lnTo>
                  <a:lnTo>
                    <a:pt x="75" y="2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7" name="Freeform 178">
              <a:extLst>
                <a:ext uri="{FF2B5EF4-FFF2-40B4-BE49-F238E27FC236}">
                  <a16:creationId xmlns:a16="http://schemas.microsoft.com/office/drawing/2014/main" id="{3C7D2213-DA06-4593-93C5-91527B802F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85609" y="2486026"/>
              <a:ext cx="71438" cy="107950"/>
            </a:xfrm>
            <a:custGeom>
              <a:avLst/>
              <a:gdLst>
                <a:gd name="T0" fmla="*/ 122 w 179"/>
                <a:gd name="T1" fmla="*/ 0 h 271"/>
                <a:gd name="T2" fmla="*/ 139 w 179"/>
                <a:gd name="T3" fmla="*/ 2 h 271"/>
                <a:gd name="T4" fmla="*/ 154 w 179"/>
                <a:gd name="T5" fmla="*/ 8 h 271"/>
                <a:gd name="T6" fmla="*/ 164 w 179"/>
                <a:gd name="T7" fmla="*/ 18 h 271"/>
                <a:gd name="T8" fmla="*/ 172 w 179"/>
                <a:gd name="T9" fmla="*/ 33 h 271"/>
                <a:gd name="T10" fmla="*/ 178 w 179"/>
                <a:gd name="T11" fmla="*/ 50 h 271"/>
                <a:gd name="T12" fmla="*/ 179 w 179"/>
                <a:gd name="T13" fmla="*/ 73 h 271"/>
                <a:gd name="T14" fmla="*/ 179 w 179"/>
                <a:gd name="T15" fmla="*/ 271 h 271"/>
                <a:gd name="T16" fmla="*/ 152 w 179"/>
                <a:gd name="T17" fmla="*/ 271 h 271"/>
                <a:gd name="T18" fmla="*/ 152 w 179"/>
                <a:gd name="T19" fmla="*/ 82 h 271"/>
                <a:gd name="T20" fmla="*/ 151 w 179"/>
                <a:gd name="T21" fmla="*/ 62 h 271"/>
                <a:gd name="T22" fmla="*/ 146 w 179"/>
                <a:gd name="T23" fmla="*/ 47 h 271"/>
                <a:gd name="T24" fmla="*/ 139 w 179"/>
                <a:gd name="T25" fmla="*/ 38 h 271"/>
                <a:gd name="T26" fmla="*/ 129 w 179"/>
                <a:gd name="T27" fmla="*/ 32 h 271"/>
                <a:gd name="T28" fmla="*/ 115 w 179"/>
                <a:gd name="T29" fmla="*/ 30 h 271"/>
                <a:gd name="T30" fmla="*/ 98 w 179"/>
                <a:gd name="T31" fmla="*/ 32 h 271"/>
                <a:gd name="T32" fmla="*/ 83 w 179"/>
                <a:gd name="T33" fmla="*/ 38 h 271"/>
                <a:gd name="T34" fmla="*/ 65 w 179"/>
                <a:gd name="T35" fmla="*/ 47 h 271"/>
                <a:gd name="T36" fmla="*/ 47 w 179"/>
                <a:gd name="T37" fmla="*/ 59 h 271"/>
                <a:gd name="T38" fmla="*/ 28 w 179"/>
                <a:gd name="T39" fmla="*/ 76 h 271"/>
                <a:gd name="T40" fmla="*/ 28 w 179"/>
                <a:gd name="T41" fmla="*/ 271 h 271"/>
                <a:gd name="T42" fmla="*/ 0 w 179"/>
                <a:gd name="T43" fmla="*/ 271 h 271"/>
                <a:gd name="T44" fmla="*/ 0 w 179"/>
                <a:gd name="T45" fmla="*/ 7 h 271"/>
                <a:gd name="T46" fmla="*/ 22 w 179"/>
                <a:gd name="T47" fmla="*/ 7 h 271"/>
                <a:gd name="T48" fmla="*/ 25 w 179"/>
                <a:gd name="T49" fmla="*/ 50 h 271"/>
                <a:gd name="T50" fmla="*/ 50 w 179"/>
                <a:gd name="T51" fmla="*/ 30 h 271"/>
                <a:gd name="T52" fmla="*/ 75 w 179"/>
                <a:gd name="T53" fmla="*/ 14 h 271"/>
                <a:gd name="T54" fmla="*/ 98 w 179"/>
                <a:gd name="T55" fmla="*/ 4 h 271"/>
                <a:gd name="T56" fmla="*/ 122 w 179"/>
                <a:gd name="T57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9" h="271">
                  <a:moveTo>
                    <a:pt x="122" y="0"/>
                  </a:moveTo>
                  <a:lnTo>
                    <a:pt x="139" y="2"/>
                  </a:lnTo>
                  <a:lnTo>
                    <a:pt x="154" y="8"/>
                  </a:lnTo>
                  <a:lnTo>
                    <a:pt x="164" y="18"/>
                  </a:lnTo>
                  <a:lnTo>
                    <a:pt x="172" y="33"/>
                  </a:lnTo>
                  <a:lnTo>
                    <a:pt x="178" y="50"/>
                  </a:lnTo>
                  <a:lnTo>
                    <a:pt x="179" y="73"/>
                  </a:lnTo>
                  <a:lnTo>
                    <a:pt x="179" y="271"/>
                  </a:lnTo>
                  <a:lnTo>
                    <a:pt x="152" y="271"/>
                  </a:lnTo>
                  <a:lnTo>
                    <a:pt x="152" y="82"/>
                  </a:lnTo>
                  <a:lnTo>
                    <a:pt x="151" y="62"/>
                  </a:lnTo>
                  <a:lnTo>
                    <a:pt x="146" y="47"/>
                  </a:lnTo>
                  <a:lnTo>
                    <a:pt x="139" y="38"/>
                  </a:lnTo>
                  <a:lnTo>
                    <a:pt x="129" y="32"/>
                  </a:lnTo>
                  <a:lnTo>
                    <a:pt x="115" y="30"/>
                  </a:lnTo>
                  <a:lnTo>
                    <a:pt x="98" y="32"/>
                  </a:lnTo>
                  <a:lnTo>
                    <a:pt x="83" y="38"/>
                  </a:lnTo>
                  <a:lnTo>
                    <a:pt x="65" y="47"/>
                  </a:lnTo>
                  <a:lnTo>
                    <a:pt x="47" y="59"/>
                  </a:lnTo>
                  <a:lnTo>
                    <a:pt x="28" y="76"/>
                  </a:lnTo>
                  <a:lnTo>
                    <a:pt x="28" y="271"/>
                  </a:lnTo>
                  <a:lnTo>
                    <a:pt x="0" y="271"/>
                  </a:lnTo>
                  <a:lnTo>
                    <a:pt x="0" y="7"/>
                  </a:lnTo>
                  <a:lnTo>
                    <a:pt x="22" y="7"/>
                  </a:lnTo>
                  <a:lnTo>
                    <a:pt x="25" y="50"/>
                  </a:lnTo>
                  <a:lnTo>
                    <a:pt x="50" y="30"/>
                  </a:lnTo>
                  <a:lnTo>
                    <a:pt x="75" y="14"/>
                  </a:lnTo>
                  <a:lnTo>
                    <a:pt x="98" y="4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8" name="Freeform 179">
              <a:extLst>
                <a:ext uri="{FF2B5EF4-FFF2-40B4-BE49-F238E27FC236}">
                  <a16:creationId xmlns:a16="http://schemas.microsoft.com/office/drawing/2014/main" id="{6DB701B9-0FDE-4298-8337-79C6C2CBE8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96734" y="2486026"/>
              <a:ext cx="66675" cy="111125"/>
            </a:xfrm>
            <a:custGeom>
              <a:avLst/>
              <a:gdLst>
                <a:gd name="T0" fmla="*/ 99 w 167"/>
                <a:gd name="T1" fmla="*/ 0 h 278"/>
                <a:gd name="T2" fmla="*/ 113 w 167"/>
                <a:gd name="T3" fmla="*/ 0 h 278"/>
                <a:gd name="T4" fmla="*/ 129 w 167"/>
                <a:gd name="T5" fmla="*/ 2 h 278"/>
                <a:gd name="T6" fmla="*/ 148 w 167"/>
                <a:gd name="T7" fmla="*/ 6 h 278"/>
                <a:gd name="T8" fmla="*/ 163 w 167"/>
                <a:gd name="T9" fmla="*/ 12 h 278"/>
                <a:gd name="T10" fmla="*/ 159 w 167"/>
                <a:gd name="T11" fmla="*/ 34 h 278"/>
                <a:gd name="T12" fmla="*/ 140 w 167"/>
                <a:gd name="T13" fmla="*/ 32 h 278"/>
                <a:gd name="T14" fmla="*/ 120 w 167"/>
                <a:gd name="T15" fmla="*/ 31 h 278"/>
                <a:gd name="T16" fmla="*/ 103 w 167"/>
                <a:gd name="T17" fmla="*/ 30 h 278"/>
                <a:gd name="T18" fmla="*/ 84 w 167"/>
                <a:gd name="T19" fmla="*/ 31 h 278"/>
                <a:gd name="T20" fmla="*/ 68 w 167"/>
                <a:gd name="T21" fmla="*/ 35 h 278"/>
                <a:gd name="T22" fmla="*/ 56 w 167"/>
                <a:gd name="T23" fmla="*/ 42 h 278"/>
                <a:gd name="T24" fmla="*/ 45 w 167"/>
                <a:gd name="T25" fmla="*/ 53 h 278"/>
                <a:gd name="T26" fmla="*/ 37 w 167"/>
                <a:gd name="T27" fmla="*/ 67 h 278"/>
                <a:gd name="T28" fmla="*/ 32 w 167"/>
                <a:gd name="T29" fmla="*/ 87 h 278"/>
                <a:gd name="T30" fmla="*/ 29 w 167"/>
                <a:gd name="T31" fmla="*/ 111 h 278"/>
                <a:gd name="T32" fmla="*/ 28 w 167"/>
                <a:gd name="T33" fmla="*/ 139 h 278"/>
                <a:gd name="T34" fmla="*/ 29 w 167"/>
                <a:gd name="T35" fmla="*/ 169 h 278"/>
                <a:gd name="T36" fmla="*/ 32 w 167"/>
                <a:gd name="T37" fmla="*/ 191 h 278"/>
                <a:gd name="T38" fmla="*/ 37 w 167"/>
                <a:gd name="T39" fmla="*/ 211 h 278"/>
                <a:gd name="T40" fmla="*/ 45 w 167"/>
                <a:gd name="T41" fmla="*/ 226 h 278"/>
                <a:gd name="T42" fmla="*/ 56 w 167"/>
                <a:gd name="T43" fmla="*/ 236 h 278"/>
                <a:gd name="T44" fmla="*/ 68 w 167"/>
                <a:gd name="T45" fmla="*/ 243 h 278"/>
                <a:gd name="T46" fmla="*/ 84 w 167"/>
                <a:gd name="T47" fmla="*/ 246 h 278"/>
                <a:gd name="T48" fmla="*/ 103 w 167"/>
                <a:gd name="T49" fmla="*/ 248 h 278"/>
                <a:gd name="T50" fmla="*/ 115 w 167"/>
                <a:gd name="T51" fmla="*/ 247 h 278"/>
                <a:gd name="T52" fmla="*/ 130 w 167"/>
                <a:gd name="T53" fmla="*/ 247 h 278"/>
                <a:gd name="T54" fmla="*/ 148 w 167"/>
                <a:gd name="T55" fmla="*/ 245 h 278"/>
                <a:gd name="T56" fmla="*/ 165 w 167"/>
                <a:gd name="T57" fmla="*/ 241 h 278"/>
                <a:gd name="T58" fmla="*/ 167 w 167"/>
                <a:gd name="T59" fmla="*/ 265 h 278"/>
                <a:gd name="T60" fmla="*/ 145 w 167"/>
                <a:gd name="T61" fmla="*/ 272 h 278"/>
                <a:gd name="T62" fmla="*/ 121 w 167"/>
                <a:gd name="T63" fmla="*/ 277 h 278"/>
                <a:gd name="T64" fmla="*/ 99 w 167"/>
                <a:gd name="T65" fmla="*/ 278 h 278"/>
                <a:gd name="T66" fmla="*/ 74 w 167"/>
                <a:gd name="T67" fmla="*/ 276 h 278"/>
                <a:gd name="T68" fmla="*/ 52 w 167"/>
                <a:gd name="T69" fmla="*/ 270 h 278"/>
                <a:gd name="T70" fmla="*/ 35 w 167"/>
                <a:gd name="T71" fmla="*/ 261 h 278"/>
                <a:gd name="T72" fmla="*/ 22 w 167"/>
                <a:gd name="T73" fmla="*/ 247 h 278"/>
                <a:gd name="T74" fmla="*/ 11 w 167"/>
                <a:gd name="T75" fmla="*/ 228 h 278"/>
                <a:gd name="T76" fmla="*/ 5 w 167"/>
                <a:gd name="T77" fmla="*/ 204 h 278"/>
                <a:gd name="T78" fmla="*/ 1 w 167"/>
                <a:gd name="T79" fmla="*/ 174 h 278"/>
                <a:gd name="T80" fmla="*/ 0 w 167"/>
                <a:gd name="T81" fmla="*/ 139 h 278"/>
                <a:gd name="T82" fmla="*/ 1 w 167"/>
                <a:gd name="T83" fmla="*/ 104 h 278"/>
                <a:gd name="T84" fmla="*/ 5 w 167"/>
                <a:gd name="T85" fmla="*/ 74 h 278"/>
                <a:gd name="T86" fmla="*/ 11 w 167"/>
                <a:gd name="T87" fmla="*/ 50 h 278"/>
                <a:gd name="T88" fmla="*/ 22 w 167"/>
                <a:gd name="T89" fmla="*/ 31 h 278"/>
                <a:gd name="T90" fmla="*/ 35 w 167"/>
                <a:gd name="T91" fmla="*/ 17 h 278"/>
                <a:gd name="T92" fmla="*/ 52 w 167"/>
                <a:gd name="T93" fmla="*/ 7 h 278"/>
                <a:gd name="T94" fmla="*/ 74 w 167"/>
                <a:gd name="T95" fmla="*/ 1 h 278"/>
                <a:gd name="T96" fmla="*/ 99 w 167"/>
                <a:gd name="T97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7" h="278">
                  <a:moveTo>
                    <a:pt x="99" y="0"/>
                  </a:moveTo>
                  <a:lnTo>
                    <a:pt x="113" y="0"/>
                  </a:lnTo>
                  <a:lnTo>
                    <a:pt x="129" y="2"/>
                  </a:lnTo>
                  <a:lnTo>
                    <a:pt x="148" y="6"/>
                  </a:lnTo>
                  <a:lnTo>
                    <a:pt x="163" y="12"/>
                  </a:lnTo>
                  <a:lnTo>
                    <a:pt x="159" y="34"/>
                  </a:lnTo>
                  <a:lnTo>
                    <a:pt x="140" y="32"/>
                  </a:lnTo>
                  <a:lnTo>
                    <a:pt x="120" y="31"/>
                  </a:lnTo>
                  <a:lnTo>
                    <a:pt x="103" y="30"/>
                  </a:lnTo>
                  <a:lnTo>
                    <a:pt x="84" y="31"/>
                  </a:lnTo>
                  <a:lnTo>
                    <a:pt x="68" y="35"/>
                  </a:lnTo>
                  <a:lnTo>
                    <a:pt x="56" y="42"/>
                  </a:lnTo>
                  <a:lnTo>
                    <a:pt x="45" y="53"/>
                  </a:lnTo>
                  <a:lnTo>
                    <a:pt x="37" y="67"/>
                  </a:lnTo>
                  <a:lnTo>
                    <a:pt x="32" y="87"/>
                  </a:lnTo>
                  <a:lnTo>
                    <a:pt x="29" y="111"/>
                  </a:lnTo>
                  <a:lnTo>
                    <a:pt x="28" y="139"/>
                  </a:lnTo>
                  <a:lnTo>
                    <a:pt x="29" y="169"/>
                  </a:lnTo>
                  <a:lnTo>
                    <a:pt x="32" y="191"/>
                  </a:lnTo>
                  <a:lnTo>
                    <a:pt x="37" y="211"/>
                  </a:lnTo>
                  <a:lnTo>
                    <a:pt x="45" y="226"/>
                  </a:lnTo>
                  <a:lnTo>
                    <a:pt x="56" y="236"/>
                  </a:lnTo>
                  <a:lnTo>
                    <a:pt x="68" y="243"/>
                  </a:lnTo>
                  <a:lnTo>
                    <a:pt x="84" y="246"/>
                  </a:lnTo>
                  <a:lnTo>
                    <a:pt x="103" y="248"/>
                  </a:lnTo>
                  <a:lnTo>
                    <a:pt x="115" y="247"/>
                  </a:lnTo>
                  <a:lnTo>
                    <a:pt x="130" y="247"/>
                  </a:lnTo>
                  <a:lnTo>
                    <a:pt x="148" y="245"/>
                  </a:lnTo>
                  <a:lnTo>
                    <a:pt x="165" y="241"/>
                  </a:lnTo>
                  <a:lnTo>
                    <a:pt x="167" y="265"/>
                  </a:lnTo>
                  <a:lnTo>
                    <a:pt x="145" y="272"/>
                  </a:lnTo>
                  <a:lnTo>
                    <a:pt x="121" y="277"/>
                  </a:lnTo>
                  <a:lnTo>
                    <a:pt x="99" y="278"/>
                  </a:lnTo>
                  <a:lnTo>
                    <a:pt x="74" y="276"/>
                  </a:lnTo>
                  <a:lnTo>
                    <a:pt x="52" y="270"/>
                  </a:lnTo>
                  <a:lnTo>
                    <a:pt x="35" y="261"/>
                  </a:lnTo>
                  <a:lnTo>
                    <a:pt x="22" y="247"/>
                  </a:lnTo>
                  <a:lnTo>
                    <a:pt x="11" y="228"/>
                  </a:lnTo>
                  <a:lnTo>
                    <a:pt x="5" y="204"/>
                  </a:lnTo>
                  <a:lnTo>
                    <a:pt x="1" y="174"/>
                  </a:lnTo>
                  <a:lnTo>
                    <a:pt x="0" y="139"/>
                  </a:lnTo>
                  <a:lnTo>
                    <a:pt x="1" y="104"/>
                  </a:lnTo>
                  <a:lnTo>
                    <a:pt x="5" y="74"/>
                  </a:lnTo>
                  <a:lnTo>
                    <a:pt x="11" y="50"/>
                  </a:lnTo>
                  <a:lnTo>
                    <a:pt x="22" y="31"/>
                  </a:lnTo>
                  <a:lnTo>
                    <a:pt x="35" y="17"/>
                  </a:lnTo>
                  <a:lnTo>
                    <a:pt x="52" y="7"/>
                  </a:lnTo>
                  <a:lnTo>
                    <a:pt x="74" y="1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9" name="Freeform 180">
              <a:extLst>
                <a:ext uri="{FF2B5EF4-FFF2-40B4-BE49-F238E27FC236}">
                  <a16:creationId xmlns:a16="http://schemas.microsoft.com/office/drawing/2014/main" id="{6C914F44-ED2A-4EEA-975C-6F231A21F2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0396" y="2489201"/>
              <a:ext cx="82550" cy="149225"/>
            </a:xfrm>
            <a:custGeom>
              <a:avLst/>
              <a:gdLst>
                <a:gd name="T0" fmla="*/ 0 w 206"/>
                <a:gd name="T1" fmla="*/ 0 h 377"/>
                <a:gd name="T2" fmla="*/ 29 w 206"/>
                <a:gd name="T3" fmla="*/ 0 h 377"/>
                <a:gd name="T4" fmla="*/ 92 w 206"/>
                <a:gd name="T5" fmla="*/ 206 h 377"/>
                <a:gd name="T6" fmla="*/ 100 w 206"/>
                <a:gd name="T7" fmla="*/ 237 h 377"/>
                <a:gd name="T8" fmla="*/ 106 w 206"/>
                <a:gd name="T9" fmla="*/ 237 h 377"/>
                <a:gd name="T10" fmla="*/ 116 w 206"/>
                <a:gd name="T11" fmla="*/ 206 h 377"/>
                <a:gd name="T12" fmla="*/ 177 w 206"/>
                <a:gd name="T13" fmla="*/ 0 h 377"/>
                <a:gd name="T14" fmla="*/ 206 w 206"/>
                <a:gd name="T15" fmla="*/ 0 h 377"/>
                <a:gd name="T16" fmla="*/ 118 w 206"/>
                <a:gd name="T17" fmla="*/ 282 h 377"/>
                <a:gd name="T18" fmla="*/ 111 w 206"/>
                <a:gd name="T19" fmla="*/ 302 h 377"/>
                <a:gd name="T20" fmla="*/ 103 w 206"/>
                <a:gd name="T21" fmla="*/ 321 h 377"/>
                <a:gd name="T22" fmla="*/ 94 w 206"/>
                <a:gd name="T23" fmla="*/ 337 h 377"/>
                <a:gd name="T24" fmla="*/ 83 w 206"/>
                <a:gd name="T25" fmla="*/ 352 h 377"/>
                <a:gd name="T26" fmla="*/ 69 w 206"/>
                <a:gd name="T27" fmla="*/ 364 h 377"/>
                <a:gd name="T28" fmla="*/ 53 w 206"/>
                <a:gd name="T29" fmla="*/ 372 h 377"/>
                <a:gd name="T30" fmla="*/ 34 w 206"/>
                <a:gd name="T31" fmla="*/ 377 h 377"/>
                <a:gd name="T32" fmla="*/ 30 w 206"/>
                <a:gd name="T33" fmla="*/ 355 h 377"/>
                <a:gd name="T34" fmla="*/ 50 w 206"/>
                <a:gd name="T35" fmla="*/ 345 h 377"/>
                <a:gd name="T36" fmla="*/ 64 w 206"/>
                <a:gd name="T37" fmla="*/ 332 h 377"/>
                <a:gd name="T38" fmla="*/ 76 w 206"/>
                <a:gd name="T39" fmla="*/ 316 h 377"/>
                <a:gd name="T40" fmla="*/ 85 w 206"/>
                <a:gd name="T41" fmla="*/ 299 h 377"/>
                <a:gd name="T42" fmla="*/ 92 w 206"/>
                <a:gd name="T43" fmla="*/ 279 h 377"/>
                <a:gd name="T44" fmla="*/ 97 w 206"/>
                <a:gd name="T45" fmla="*/ 264 h 377"/>
                <a:gd name="T46" fmla="*/ 91 w 206"/>
                <a:gd name="T47" fmla="*/ 264 h 377"/>
                <a:gd name="T48" fmla="*/ 87 w 206"/>
                <a:gd name="T49" fmla="*/ 264 h 377"/>
                <a:gd name="T50" fmla="*/ 84 w 206"/>
                <a:gd name="T51" fmla="*/ 262 h 377"/>
                <a:gd name="T52" fmla="*/ 81 w 206"/>
                <a:gd name="T53" fmla="*/ 259 h 377"/>
                <a:gd name="T54" fmla="*/ 79 w 206"/>
                <a:gd name="T55" fmla="*/ 255 h 377"/>
                <a:gd name="T56" fmla="*/ 0 w 206"/>
                <a:gd name="T57" fmla="*/ 0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6" h="377">
                  <a:moveTo>
                    <a:pt x="0" y="0"/>
                  </a:moveTo>
                  <a:lnTo>
                    <a:pt x="29" y="0"/>
                  </a:lnTo>
                  <a:lnTo>
                    <a:pt x="92" y="206"/>
                  </a:lnTo>
                  <a:lnTo>
                    <a:pt x="100" y="237"/>
                  </a:lnTo>
                  <a:lnTo>
                    <a:pt x="106" y="237"/>
                  </a:lnTo>
                  <a:lnTo>
                    <a:pt x="116" y="206"/>
                  </a:lnTo>
                  <a:lnTo>
                    <a:pt x="177" y="0"/>
                  </a:lnTo>
                  <a:lnTo>
                    <a:pt x="206" y="0"/>
                  </a:lnTo>
                  <a:lnTo>
                    <a:pt x="118" y="282"/>
                  </a:lnTo>
                  <a:lnTo>
                    <a:pt x="111" y="302"/>
                  </a:lnTo>
                  <a:lnTo>
                    <a:pt x="103" y="321"/>
                  </a:lnTo>
                  <a:lnTo>
                    <a:pt x="94" y="337"/>
                  </a:lnTo>
                  <a:lnTo>
                    <a:pt x="83" y="352"/>
                  </a:lnTo>
                  <a:lnTo>
                    <a:pt x="69" y="364"/>
                  </a:lnTo>
                  <a:lnTo>
                    <a:pt x="53" y="372"/>
                  </a:lnTo>
                  <a:lnTo>
                    <a:pt x="34" y="377"/>
                  </a:lnTo>
                  <a:lnTo>
                    <a:pt x="30" y="355"/>
                  </a:lnTo>
                  <a:lnTo>
                    <a:pt x="50" y="345"/>
                  </a:lnTo>
                  <a:lnTo>
                    <a:pt x="64" y="332"/>
                  </a:lnTo>
                  <a:lnTo>
                    <a:pt x="76" y="316"/>
                  </a:lnTo>
                  <a:lnTo>
                    <a:pt x="85" y="299"/>
                  </a:lnTo>
                  <a:lnTo>
                    <a:pt x="92" y="279"/>
                  </a:lnTo>
                  <a:lnTo>
                    <a:pt x="97" y="264"/>
                  </a:lnTo>
                  <a:lnTo>
                    <a:pt x="91" y="264"/>
                  </a:lnTo>
                  <a:lnTo>
                    <a:pt x="87" y="264"/>
                  </a:lnTo>
                  <a:lnTo>
                    <a:pt x="84" y="262"/>
                  </a:lnTo>
                  <a:lnTo>
                    <a:pt x="81" y="259"/>
                  </a:lnTo>
                  <a:lnTo>
                    <a:pt x="79" y="2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40" name="Freeform 181">
              <a:extLst>
                <a:ext uri="{FF2B5EF4-FFF2-40B4-BE49-F238E27FC236}">
                  <a16:creationId xmlns:a16="http://schemas.microsoft.com/office/drawing/2014/main" id="{7EC602D8-0EF6-433C-9412-58E55FB64A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8846" y="1620838"/>
              <a:ext cx="1431925" cy="1130300"/>
            </a:xfrm>
            <a:custGeom>
              <a:avLst/>
              <a:gdLst>
                <a:gd name="T0" fmla="*/ 698 w 3610"/>
                <a:gd name="T1" fmla="*/ 73 h 2847"/>
                <a:gd name="T2" fmla="*/ 614 w 3610"/>
                <a:gd name="T3" fmla="*/ 393 h 2847"/>
                <a:gd name="T4" fmla="*/ 473 w 3610"/>
                <a:gd name="T5" fmla="*/ 918 h 2847"/>
                <a:gd name="T6" fmla="*/ 488 w 3610"/>
                <a:gd name="T7" fmla="*/ 976 h 2847"/>
                <a:gd name="T8" fmla="*/ 735 w 3610"/>
                <a:gd name="T9" fmla="*/ 567 h 2847"/>
                <a:gd name="T10" fmla="*/ 973 w 3610"/>
                <a:gd name="T11" fmla="*/ 357 h 2847"/>
                <a:gd name="T12" fmla="*/ 1132 w 3610"/>
                <a:gd name="T13" fmla="*/ 427 h 2847"/>
                <a:gd name="T14" fmla="*/ 1172 w 3610"/>
                <a:gd name="T15" fmla="*/ 832 h 2847"/>
                <a:gd name="T16" fmla="*/ 1175 w 3610"/>
                <a:gd name="T17" fmla="*/ 1321 h 2847"/>
                <a:gd name="T18" fmla="*/ 1180 w 3610"/>
                <a:gd name="T19" fmla="*/ 1458 h 2847"/>
                <a:gd name="T20" fmla="*/ 1305 w 3610"/>
                <a:gd name="T21" fmla="*/ 1312 h 2847"/>
                <a:gd name="T22" fmla="*/ 1600 w 3610"/>
                <a:gd name="T23" fmla="*/ 787 h 2847"/>
                <a:gd name="T24" fmla="*/ 1843 w 3610"/>
                <a:gd name="T25" fmla="*/ 445 h 2847"/>
                <a:gd name="T26" fmla="*/ 2095 w 3610"/>
                <a:gd name="T27" fmla="*/ 357 h 2847"/>
                <a:gd name="T28" fmla="*/ 2247 w 3610"/>
                <a:gd name="T29" fmla="*/ 493 h 2847"/>
                <a:gd name="T30" fmla="*/ 2257 w 3610"/>
                <a:gd name="T31" fmla="*/ 958 h 2847"/>
                <a:gd name="T32" fmla="*/ 2209 w 3610"/>
                <a:gd name="T33" fmla="*/ 1549 h 2847"/>
                <a:gd name="T34" fmla="*/ 2342 w 3610"/>
                <a:gd name="T35" fmla="*/ 1755 h 2847"/>
                <a:gd name="T36" fmla="*/ 2599 w 3610"/>
                <a:gd name="T37" fmla="*/ 1586 h 2847"/>
                <a:gd name="T38" fmla="*/ 2826 w 3610"/>
                <a:gd name="T39" fmla="*/ 1375 h 2847"/>
                <a:gd name="T40" fmla="*/ 3107 w 3610"/>
                <a:gd name="T41" fmla="*/ 1223 h 2847"/>
                <a:gd name="T42" fmla="*/ 3392 w 3610"/>
                <a:gd name="T43" fmla="*/ 1406 h 2847"/>
                <a:gd name="T44" fmla="*/ 3274 w 3610"/>
                <a:gd name="T45" fmla="*/ 1675 h 2847"/>
                <a:gd name="T46" fmla="*/ 3525 w 3610"/>
                <a:gd name="T47" fmla="*/ 1947 h 2847"/>
                <a:gd name="T48" fmla="*/ 3576 w 3610"/>
                <a:gd name="T49" fmla="*/ 2396 h 2847"/>
                <a:gd name="T50" fmla="*/ 3236 w 3610"/>
                <a:gd name="T51" fmla="*/ 2765 h 2847"/>
                <a:gd name="T52" fmla="*/ 2740 w 3610"/>
                <a:gd name="T53" fmla="*/ 2822 h 2847"/>
                <a:gd name="T54" fmla="*/ 2586 w 3610"/>
                <a:gd name="T55" fmla="*/ 2708 h 2847"/>
                <a:gd name="T56" fmla="*/ 2675 w 3610"/>
                <a:gd name="T57" fmla="*/ 2707 h 2847"/>
                <a:gd name="T58" fmla="*/ 2987 w 3610"/>
                <a:gd name="T59" fmla="*/ 2745 h 2847"/>
                <a:gd name="T60" fmla="*/ 3375 w 3610"/>
                <a:gd name="T61" fmla="*/ 2456 h 2847"/>
                <a:gd name="T62" fmla="*/ 3351 w 3610"/>
                <a:gd name="T63" fmla="*/ 2027 h 2847"/>
                <a:gd name="T64" fmla="*/ 2935 w 3610"/>
                <a:gd name="T65" fmla="*/ 1899 h 2847"/>
                <a:gd name="T66" fmla="*/ 2862 w 3610"/>
                <a:gd name="T67" fmla="*/ 1863 h 2847"/>
                <a:gd name="T68" fmla="*/ 3053 w 3610"/>
                <a:gd name="T69" fmla="*/ 1697 h 2847"/>
                <a:gd name="T70" fmla="*/ 3171 w 3610"/>
                <a:gd name="T71" fmla="*/ 1378 h 2847"/>
                <a:gd name="T72" fmla="*/ 2942 w 3610"/>
                <a:gd name="T73" fmla="*/ 1416 h 2847"/>
                <a:gd name="T74" fmla="*/ 2638 w 3610"/>
                <a:gd name="T75" fmla="*/ 1708 h 2847"/>
                <a:gd name="T76" fmla="*/ 2410 w 3610"/>
                <a:gd name="T77" fmla="*/ 1896 h 2847"/>
                <a:gd name="T78" fmla="*/ 2125 w 3610"/>
                <a:gd name="T79" fmla="*/ 1924 h 2847"/>
                <a:gd name="T80" fmla="*/ 1988 w 3610"/>
                <a:gd name="T81" fmla="*/ 1673 h 2847"/>
                <a:gd name="T82" fmla="*/ 2018 w 3610"/>
                <a:gd name="T83" fmla="*/ 1153 h 2847"/>
                <a:gd name="T84" fmla="*/ 2062 w 3610"/>
                <a:gd name="T85" fmla="*/ 748 h 2847"/>
                <a:gd name="T86" fmla="*/ 1995 w 3610"/>
                <a:gd name="T87" fmla="*/ 549 h 2847"/>
                <a:gd name="T88" fmla="*/ 1833 w 3610"/>
                <a:gd name="T89" fmla="*/ 754 h 2847"/>
                <a:gd name="T90" fmla="*/ 1570 w 3610"/>
                <a:gd name="T91" fmla="*/ 1222 h 2847"/>
                <a:gd name="T92" fmla="*/ 1328 w 3610"/>
                <a:gd name="T93" fmla="*/ 1659 h 2847"/>
                <a:gd name="T94" fmla="*/ 1175 w 3610"/>
                <a:gd name="T95" fmla="*/ 1843 h 2847"/>
                <a:gd name="T96" fmla="*/ 1005 w 3610"/>
                <a:gd name="T97" fmla="*/ 1684 h 2847"/>
                <a:gd name="T98" fmla="*/ 989 w 3610"/>
                <a:gd name="T99" fmla="*/ 1339 h 2847"/>
                <a:gd name="T100" fmla="*/ 989 w 3610"/>
                <a:gd name="T101" fmla="*/ 952 h 2847"/>
                <a:gd name="T102" fmla="*/ 989 w 3610"/>
                <a:gd name="T103" fmla="*/ 605 h 2847"/>
                <a:gd name="T104" fmla="*/ 861 w 3610"/>
                <a:gd name="T105" fmla="*/ 636 h 2847"/>
                <a:gd name="T106" fmla="*/ 668 w 3610"/>
                <a:gd name="T107" fmla="*/ 987 h 2847"/>
                <a:gd name="T108" fmla="*/ 370 w 3610"/>
                <a:gd name="T109" fmla="*/ 1529 h 2847"/>
                <a:gd name="T110" fmla="*/ 188 w 3610"/>
                <a:gd name="T111" fmla="*/ 1857 h 2847"/>
                <a:gd name="T112" fmla="*/ 71 w 3610"/>
                <a:gd name="T113" fmla="*/ 1947 h 2847"/>
                <a:gd name="T114" fmla="*/ 12 w 3610"/>
                <a:gd name="T115" fmla="*/ 1794 h 2847"/>
                <a:gd name="T116" fmla="*/ 128 w 3610"/>
                <a:gd name="T117" fmla="*/ 1220 h 2847"/>
                <a:gd name="T118" fmla="*/ 280 w 3610"/>
                <a:gd name="T119" fmla="*/ 502 h 2847"/>
                <a:gd name="T120" fmla="*/ 359 w 3610"/>
                <a:gd name="T121" fmla="*/ 155 h 2847"/>
                <a:gd name="T122" fmla="*/ 471 w 3610"/>
                <a:gd name="T123" fmla="*/ 54 h 2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10" h="2847">
                  <a:moveTo>
                    <a:pt x="619" y="0"/>
                  </a:moveTo>
                  <a:lnTo>
                    <a:pt x="627" y="0"/>
                  </a:lnTo>
                  <a:lnTo>
                    <a:pt x="636" y="1"/>
                  </a:lnTo>
                  <a:lnTo>
                    <a:pt x="648" y="4"/>
                  </a:lnTo>
                  <a:lnTo>
                    <a:pt x="659" y="7"/>
                  </a:lnTo>
                  <a:lnTo>
                    <a:pt x="669" y="13"/>
                  </a:lnTo>
                  <a:lnTo>
                    <a:pt x="679" y="19"/>
                  </a:lnTo>
                  <a:lnTo>
                    <a:pt x="687" y="29"/>
                  </a:lnTo>
                  <a:lnTo>
                    <a:pt x="694" y="41"/>
                  </a:lnTo>
                  <a:lnTo>
                    <a:pt x="698" y="56"/>
                  </a:lnTo>
                  <a:lnTo>
                    <a:pt x="698" y="73"/>
                  </a:lnTo>
                  <a:lnTo>
                    <a:pt x="694" y="93"/>
                  </a:lnTo>
                  <a:lnTo>
                    <a:pt x="692" y="101"/>
                  </a:lnTo>
                  <a:lnTo>
                    <a:pt x="689" y="115"/>
                  </a:lnTo>
                  <a:lnTo>
                    <a:pt x="683" y="134"/>
                  </a:lnTo>
                  <a:lnTo>
                    <a:pt x="676" y="159"/>
                  </a:lnTo>
                  <a:lnTo>
                    <a:pt x="668" y="189"/>
                  </a:lnTo>
                  <a:lnTo>
                    <a:pt x="659" y="223"/>
                  </a:lnTo>
                  <a:lnTo>
                    <a:pt x="649" y="261"/>
                  </a:lnTo>
                  <a:lnTo>
                    <a:pt x="637" y="303"/>
                  </a:lnTo>
                  <a:lnTo>
                    <a:pt x="626" y="346"/>
                  </a:lnTo>
                  <a:lnTo>
                    <a:pt x="614" y="393"/>
                  </a:lnTo>
                  <a:lnTo>
                    <a:pt x="600" y="440"/>
                  </a:lnTo>
                  <a:lnTo>
                    <a:pt x="586" y="491"/>
                  </a:lnTo>
                  <a:lnTo>
                    <a:pt x="573" y="541"/>
                  </a:lnTo>
                  <a:lnTo>
                    <a:pt x="559" y="592"/>
                  </a:lnTo>
                  <a:lnTo>
                    <a:pt x="546" y="643"/>
                  </a:lnTo>
                  <a:lnTo>
                    <a:pt x="533" y="693"/>
                  </a:lnTo>
                  <a:lnTo>
                    <a:pt x="519" y="742"/>
                  </a:lnTo>
                  <a:lnTo>
                    <a:pt x="507" y="790"/>
                  </a:lnTo>
                  <a:lnTo>
                    <a:pt x="494" y="835"/>
                  </a:lnTo>
                  <a:lnTo>
                    <a:pt x="483" y="879"/>
                  </a:lnTo>
                  <a:lnTo>
                    <a:pt x="473" y="918"/>
                  </a:lnTo>
                  <a:lnTo>
                    <a:pt x="464" y="955"/>
                  </a:lnTo>
                  <a:lnTo>
                    <a:pt x="456" y="988"/>
                  </a:lnTo>
                  <a:lnTo>
                    <a:pt x="449" y="1015"/>
                  </a:lnTo>
                  <a:lnTo>
                    <a:pt x="443" y="1038"/>
                  </a:lnTo>
                  <a:lnTo>
                    <a:pt x="439" y="1056"/>
                  </a:lnTo>
                  <a:lnTo>
                    <a:pt x="438" y="1067"/>
                  </a:lnTo>
                  <a:lnTo>
                    <a:pt x="442" y="1058"/>
                  </a:lnTo>
                  <a:lnTo>
                    <a:pt x="450" y="1045"/>
                  </a:lnTo>
                  <a:lnTo>
                    <a:pt x="460" y="1026"/>
                  </a:lnTo>
                  <a:lnTo>
                    <a:pt x="473" y="1003"/>
                  </a:lnTo>
                  <a:lnTo>
                    <a:pt x="488" y="976"/>
                  </a:lnTo>
                  <a:lnTo>
                    <a:pt x="505" y="946"/>
                  </a:lnTo>
                  <a:lnTo>
                    <a:pt x="523" y="913"/>
                  </a:lnTo>
                  <a:lnTo>
                    <a:pt x="543" y="877"/>
                  </a:lnTo>
                  <a:lnTo>
                    <a:pt x="564" y="840"/>
                  </a:lnTo>
                  <a:lnTo>
                    <a:pt x="586" y="801"/>
                  </a:lnTo>
                  <a:lnTo>
                    <a:pt x="610" y="761"/>
                  </a:lnTo>
                  <a:lnTo>
                    <a:pt x="634" y="721"/>
                  </a:lnTo>
                  <a:lnTo>
                    <a:pt x="659" y="682"/>
                  </a:lnTo>
                  <a:lnTo>
                    <a:pt x="684" y="642"/>
                  </a:lnTo>
                  <a:lnTo>
                    <a:pt x="710" y="603"/>
                  </a:lnTo>
                  <a:lnTo>
                    <a:pt x="735" y="567"/>
                  </a:lnTo>
                  <a:lnTo>
                    <a:pt x="760" y="531"/>
                  </a:lnTo>
                  <a:lnTo>
                    <a:pt x="785" y="498"/>
                  </a:lnTo>
                  <a:lnTo>
                    <a:pt x="810" y="469"/>
                  </a:lnTo>
                  <a:lnTo>
                    <a:pt x="834" y="442"/>
                  </a:lnTo>
                  <a:lnTo>
                    <a:pt x="857" y="419"/>
                  </a:lnTo>
                  <a:lnTo>
                    <a:pt x="880" y="398"/>
                  </a:lnTo>
                  <a:lnTo>
                    <a:pt x="902" y="382"/>
                  </a:lnTo>
                  <a:lnTo>
                    <a:pt x="921" y="371"/>
                  </a:lnTo>
                  <a:lnTo>
                    <a:pt x="939" y="363"/>
                  </a:lnTo>
                  <a:lnTo>
                    <a:pt x="956" y="360"/>
                  </a:lnTo>
                  <a:lnTo>
                    <a:pt x="973" y="357"/>
                  </a:lnTo>
                  <a:lnTo>
                    <a:pt x="989" y="356"/>
                  </a:lnTo>
                  <a:lnTo>
                    <a:pt x="1005" y="357"/>
                  </a:lnTo>
                  <a:lnTo>
                    <a:pt x="1021" y="357"/>
                  </a:lnTo>
                  <a:lnTo>
                    <a:pt x="1030" y="359"/>
                  </a:lnTo>
                  <a:lnTo>
                    <a:pt x="1043" y="361"/>
                  </a:lnTo>
                  <a:lnTo>
                    <a:pt x="1056" y="365"/>
                  </a:lnTo>
                  <a:lnTo>
                    <a:pt x="1072" y="372"/>
                  </a:lnTo>
                  <a:lnTo>
                    <a:pt x="1087" y="381"/>
                  </a:lnTo>
                  <a:lnTo>
                    <a:pt x="1103" y="394"/>
                  </a:lnTo>
                  <a:lnTo>
                    <a:pt x="1119" y="409"/>
                  </a:lnTo>
                  <a:lnTo>
                    <a:pt x="1132" y="427"/>
                  </a:lnTo>
                  <a:lnTo>
                    <a:pt x="1145" y="450"/>
                  </a:lnTo>
                  <a:lnTo>
                    <a:pt x="1155" y="476"/>
                  </a:lnTo>
                  <a:lnTo>
                    <a:pt x="1162" y="506"/>
                  </a:lnTo>
                  <a:lnTo>
                    <a:pt x="1166" y="542"/>
                  </a:lnTo>
                  <a:lnTo>
                    <a:pt x="1166" y="570"/>
                  </a:lnTo>
                  <a:lnTo>
                    <a:pt x="1167" y="604"/>
                  </a:lnTo>
                  <a:lnTo>
                    <a:pt x="1169" y="642"/>
                  </a:lnTo>
                  <a:lnTo>
                    <a:pt x="1170" y="685"/>
                  </a:lnTo>
                  <a:lnTo>
                    <a:pt x="1171" y="732"/>
                  </a:lnTo>
                  <a:lnTo>
                    <a:pt x="1171" y="781"/>
                  </a:lnTo>
                  <a:lnTo>
                    <a:pt x="1172" y="832"/>
                  </a:lnTo>
                  <a:lnTo>
                    <a:pt x="1172" y="884"/>
                  </a:lnTo>
                  <a:lnTo>
                    <a:pt x="1173" y="937"/>
                  </a:lnTo>
                  <a:lnTo>
                    <a:pt x="1173" y="989"/>
                  </a:lnTo>
                  <a:lnTo>
                    <a:pt x="1174" y="1041"/>
                  </a:lnTo>
                  <a:lnTo>
                    <a:pt x="1174" y="1091"/>
                  </a:lnTo>
                  <a:lnTo>
                    <a:pt x="1174" y="1139"/>
                  </a:lnTo>
                  <a:lnTo>
                    <a:pt x="1174" y="1185"/>
                  </a:lnTo>
                  <a:lnTo>
                    <a:pt x="1175" y="1226"/>
                  </a:lnTo>
                  <a:lnTo>
                    <a:pt x="1175" y="1263"/>
                  </a:lnTo>
                  <a:lnTo>
                    <a:pt x="1175" y="1295"/>
                  </a:lnTo>
                  <a:lnTo>
                    <a:pt x="1175" y="1321"/>
                  </a:lnTo>
                  <a:lnTo>
                    <a:pt x="1175" y="1340"/>
                  </a:lnTo>
                  <a:lnTo>
                    <a:pt x="1175" y="1353"/>
                  </a:lnTo>
                  <a:lnTo>
                    <a:pt x="1175" y="1356"/>
                  </a:lnTo>
                  <a:lnTo>
                    <a:pt x="1175" y="1360"/>
                  </a:lnTo>
                  <a:lnTo>
                    <a:pt x="1175" y="1368"/>
                  </a:lnTo>
                  <a:lnTo>
                    <a:pt x="1174" y="1379"/>
                  </a:lnTo>
                  <a:lnTo>
                    <a:pt x="1174" y="1394"/>
                  </a:lnTo>
                  <a:lnTo>
                    <a:pt x="1175" y="1410"/>
                  </a:lnTo>
                  <a:lnTo>
                    <a:pt x="1175" y="1427"/>
                  </a:lnTo>
                  <a:lnTo>
                    <a:pt x="1177" y="1443"/>
                  </a:lnTo>
                  <a:lnTo>
                    <a:pt x="1180" y="1458"/>
                  </a:lnTo>
                  <a:lnTo>
                    <a:pt x="1183" y="1470"/>
                  </a:lnTo>
                  <a:lnTo>
                    <a:pt x="1188" y="1478"/>
                  </a:lnTo>
                  <a:lnTo>
                    <a:pt x="1194" y="1482"/>
                  </a:lnTo>
                  <a:lnTo>
                    <a:pt x="1199" y="1478"/>
                  </a:lnTo>
                  <a:lnTo>
                    <a:pt x="1208" y="1469"/>
                  </a:lnTo>
                  <a:lnTo>
                    <a:pt x="1220" y="1454"/>
                  </a:lnTo>
                  <a:lnTo>
                    <a:pt x="1232" y="1435"/>
                  </a:lnTo>
                  <a:lnTo>
                    <a:pt x="1248" y="1411"/>
                  </a:lnTo>
                  <a:lnTo>
                    <a:pt x="1265" y="1381"/>
                  </a:lnTo>
                  <a:lnTo>
                    <a:pt x="1284" y="1348"/>
                  </a:lnTo>
                  <a:lnTo>
                    <a:pt x="1305" y="1312"/>
                  </a:lnTo>
                  <a:lnTo>
                    <a:pt x="1328" y="1272"/>
                  </a:lnTo>
                  <a:lnTo>
                    <a:pt x="1350" y="1230"/>
                  </a:lnTo>
                  <a:lnTo>
                    <a:pt x="1375" y="1186"/>
                  </a:lnTo>
                  <a:lnTo>
                    <a:pt x="1401" y="1138"/>
                  </a:lnTo>
                  <a:lnTo>
                    <a:pt x="1429" y="1090"/>
                  </a:lnTo>
                  <a:lnTo>
                    <a:pt x="1456" y="1040"/>
                  </a:lnTo>
                  <a:lnTo>
                    <a:pt x="1484" y="990"/>
                  </a:lnTo>
                  <a:lnTo>
                    <a:pt x="1512" y="939"/>
                  </a:lnTo>
                  <a:lnTo>
                    <a:pt x="1542" y="888"/>
                  </a:lnTo>
                  <a:lnTo>
                    <a:pt x="1570" y="838"/>
                  </a:lnTo>
                  <a:lnTo>
                    <a:pt x="1600" y="787"/>
                  </a:lnTo>
                  <a:lnTo>
                    <a:pt x="1629" y="740"/>
                  </a:lnTo>
                  <a:lnTo>
                    <a:pt x="1658" y="693"/>
                  </a:lnTo>
                  <a:lnTo>
                    <a:pt x="1686" y="648"/>
                  </a:lnTo>
                  <a:lnTo>
                    <a:pt x="1701" y="626"/>
                  </a:lnTo>
                  <a:lnTo>
                    <a:pt x="1718" y="601"/>
                  </a:lnTo>
                  <a:lnTo>
                    <a:pt x="1737" y="574"/>
                  </a:lnTo>
                  <a:lnTo>
                    <a:pt x="1758" y="545"/>
                  </a:lnTo>
                  <a:lnTo>
                    <a:pt x="1779" y="518"/>
                  </a:lnTo>
                  <a:lnTo>
                    <a:pt x="1801" y="491"/>
                  </a:lnTo>
                  <a:lnTo>
                    <a:pt x="1822" y="467"/>
                  </a:lnTo>
                  <a:lnTo>
                    <a:pt x="1843" y="445"/>
                  </a:lnTo>
                  <a:lnTo>
                    <a:pt x="1861" y="429"/>
                  </a:lnTo>
                  <a:lnTo>
                    <a:pt x="1880" y="414"/>
                  </a:lnTo>
                  <a:lnTo>
                    <a:pt x="1898" y="401"/>
                  </a:lnTo>
                  <a:lnTo>
                    <a:pt x="1918" y="388"/>
                  </a:lnTo>
                  <a:lnTo>
                    <a:pt x="1938" y="377"/>
                  </a:lnTo>
                  <a:lnTo>
                    <a:pt x="1962" y="368"/>
                  </a:lnTo>
                  <a:lnTo>
                    <a:pt x="1988" y="360"/>
                  </a:lnTo>
                  <a:lnTo>
                    <a:pt x="2018" y="354"/>
                  </a:lnTo>
                  <a:lnTo>
                    <a:pt x="2053" y="352"/>
                  </a:lnTo>
                  <a:lnTo>
                    <a:pt x="2073" y="353"/>
                  </a:lnTo>
                  <a:lnTo>
                    <a:pt x="2095" y="357"/>
                  </a:lnTo>
                  <a:lnTo>
                    <a:pt x="2116" y="365"/>
                  </a:lnTo>
                  <a:lnTo>
                    <a:pt x="2138" y="374"/>
                  </a:lnTo>
                  <a:lnTo>
                    <a:pt x="2157" y="385"/>
                  </a:lnTo>
                  <a:lnTo>
                    <a:pt x="2173" y="395"/>
                  </a:lnTo>
                  <a:lnTo>
                    <a:pt x="2181" y="402"/>
                  </a:lnTo>
                  <a:lnTo>
                    <a:pt x="2191" y="410"/>
                  </a:lnTo>
                  <a:lnTo>
                    <a:pt x="2201" y="420"/>
                  </a:lnTo>
                  <a:lnTo>
                    <a:pt x="2213" y="434"/>
                  </a:lnTo>
                  <a:lnTo>
                    <a:pt x="2225" y="450"/>
                  </a:lnTo>
                  <a:lnTo>
                    <a:pt x="2237" y="469"/>
                  </a:lnTo>
                  <a:lnTo>
                    <a:pt x="2247" y="493"/>
                  </a:lnTo>
                  <a:lnTo>
                    <a:pt x="2257" y="520"/>
                  </a:lnTo>
                  <a:lnTo>
                    <a:pt x="2265" y="552"/>
                  </a:lnTo>
                  <a:lnTo>
                    <a:pt x="2271" y="588"/>
                  </a:lnTo>
                  <a:lnTo>
                    <a:pt x="2275" y="630"/>
                  </a:lnTo>
                  <a:lnTo>
                    <a:pt x="2275" y="677"/>
                  </a:lnTo>
                  <a:lnTo>
                    <a:pt x="2275" y="712"/>
                  </a:lnTo>
                  <a:lnTo>
                    <a:pt x="2273" y="752"/>
                  </a:lnTo>
                  <a:lnTo>
                    <a:pt x="2269" y="798"/>
                  </a:lnTo>
                  <a:lnTo>
                    <a:pt x="2266" y="848"/>
                  </a:lnTo>
                  <a:lnTo>
                    <a:pt x="2262" y="901"/>
                  </a:lnTo>
                  <a:lnTo>
                    <a:pt x="2257" y="958"/>
                  </a:lnTo>
                  <a:lnTo>
                    <a:pt x="2252" y="1016"/>
                  </a:lnTo>
                  <a:lnTo>
                    <a:pt x="2247" y="1075"/>
                  </a:lnTo>
                  <a:lnTo>
                    <a:pt x="2241" y="1136"/>
                  </a:lnTo>
                  <a:lnTo>
                    <a:pt x="2237" y="1196"/>
                  </a:lnTo>
                  <a:lnTo>
                    <a:pt x="2231" y="1255"/>
                  </a:lnTo>
                  <a:lnTo>
                    <a:pt x="2226" y="1313"/>
                  </a:lnTo>
                  <a:lnTo>
                    <a:pt x="2222" y="1368"/>
                  </a:lnTo>
                  <a:lnTo>
                    <a:pt x="2217" y="1420"/>
                  </a:lnTo>
                  <a:lnTo>
                    <a:pt x="2214" y="1468"/>
                  </a:lnTo>
                  <a:lnTo>
                    <a:pt x="2212" y="1511"/>
                  </a:lnTo>
                  <a:lnTo>
                    <a:pt x="2209" y="1549"/>
                  </a:lnTo>
                  <a:lnTo>
                    <a:pt x="2208" y="1581"/>
                  </a:lnTo>
                  <a:lnTo>
                    <a:pt x="2208" y="1604"/>
                  </a:lnTo>
                  <a:lnTo>
                    <a:pt x="2210" y="1637"/>
                  </a:lnTo>
                  <a:lnTo>
                    <a:pt x="2215" y="1667"/>
                  </a:lnTo>
                  <a:lnTo>
                    <a:pt x="2224" y="1693"/>
                  </a:lnTo>
                  <a:lnTo>
                    <a:pt x="2237" y="1714"/>
                  </a:lnTo>
                  <a:lnTo>
                    <a:pt x="2252" y="1731"/>
                  </a:lnTo>
                  <a:lnTo>
                    <a:pt x="2271" y="1743"/>
                  </a:lnTo>
                  <a:lnTo>
                    <a:pt x="2292" y="1752"/>
                  </a:lnTo>
                  <a:lnTo>
                    <a:pt x="2316" y="1756"/>
                  </a:lnTo>
                  <a:lnTo>
                    <a:pt x="2342" y="1755"/>
                  </a:lnTo>
                  <a:lnTo>
                    <a:pt x="2370" y="1748"/>
                  </a:lnTo>
                  <a:lnTo>
                    <a:pt x="2401" y="1738"/>
                  </a:lnTo>
                  <a:lnTo>
                    <a:pt x="2433" y="1722"/>
                  </a:lnTo>
                  <a:lnTo>
                    <a:pt x="2467" y="1700"/>
                  </a:lnTo>
                  <a:lnTo>
                    <a:pt x="2478" y="1691"/>
                  </a:lnTo>
                  <a:lnTo>
                    <a:pt x="2493" y="1680"/>
                  </a:lnTo>
                  <a:lnTo>
                    <a:pt x="2510" y="1665"/>
                  </a:lnTo>
                  <a:lnTo>
                    <a:pt x="2529" y="1649"/>
                  </a:lnTo>
                  <a:lnTo>
                    <a:pt x="2551" y="1630"/>
                  </a:lnTo>
                  <a:lnTo>
                    <a:pt x="2575" y="1609"/>
                  </a:lnTo>
                  <a:lnTo>
                    <a:pt x="2599" y="1586"/>
                  </a:lnTo>
                  <a:lnTo>
                    <a:pt x="2624" y="1564"/>
                  </a:lnTo>
                  <a:lnTo>
                    <a:pt x="2649" y="1541"/>
                  </a:lnTo>
                  <a:lnTo>
                    <a:pt x="2675" y="1517"/>
                  </a:lnTo>
                  <a:lnTo>
                    <a:pt x="2700" y="1494"/>
                  </a:lnTo>
                  <a:lnTo>
                    <a:pt x="2723" y="1471"/>
                  </a:lnTo>
                  <a:lnTo>
                    <a:pt x="2746" y="1450"/>
                  </a:lnTo>
                  <a:lnTo>
                    <a:pt x="2767" y="1430"/>
                  </a:lnTo>
                  <a:lnTo>
                    <a:pt x="2786" y="1413"/>
                  </a:lnTo>
                  <a:lnTo>
                    <a:pt x="2802" y="1397"/>
                  </a:lnTo>
                  <a:lnTo>
                    <a:pt x="2815" y="1385"/>
                  </a:lnTo>
                  <a:lnTo>
                    <a:pt x="2826" y="1375"/>
                  </a:lnTo>
                  <a:lnTo>
                    <a:pt x="2832" y="1369"/>
                  </a:lnTo>
                  <a:lnTo>
                    <a:pt x="2835" y="1367"/>
                  </a:lnTo>
                  <a:lnTo>
                    <a:pt x="2862" y="1346"/>
                  </a:lnTo>
                  <a:lnTo>
                    <a:pt x="2889" y="1325"/>
                  </a:lnTo>
                  <a:lnTo>
                    <a:pt x="2917" y="1304"/>
                  </a:lnTo>
                  <a:lnTo>
                    <a:pt x="2946" y="1285"/>
                  </a:lnTo>
                  <a:lnTo>
                    <a:pt x="2975" y="1267"/>
                  </a:lnTo>
                  <a:lnTo>
                    <a:pt x="3006" y="1251"/>
                  </a:lnTo>
                  <a:lnTo>
                    <a:pt x="3039" y="1238"/>
                  </a:lnTo>
                  <a:lnTo>
                    <a:pt x="3072" y="1229"/>
                  </a:lnTo>
                  <a:lnTo>
                    <a:pt x="3107" y="1223"/>
                  </a:lnTo>
                  <a:lnTo>
                    <a:pt x="3144" y="1222"/>
                  </a:lnTo>
                  <a:lnTo>
                    <a:pt x="3183" y="1227"/>
                  </a:lnTo>
                  <a:lnTo>
                    <a:pt x="3223" y="1236"/>
                  </a:lnTo>
                  <a:lnTo>
                    <a:pt x="3259" y="1249"/>
                  </a:lnTo>
                  <a:lnTo>
                    <a:pt x="3290" y="1267"/>
                  </a:lnTo>
                  <a:lnTo>
                    <a:pt x="3317" y="1286"/>
                  </a:lnTo>
                  <a:lnTo>
                    <a:pt x="3340" y="1307"/>
                  </a:lnTo>
                  <a:lnTo>
                    <a:pt x="3359" y="1331"/>
                  </a:lnTo>
                  <a:lnTo>
                    <a:pt x="3374" y="1356"/>
                  </a:lnTo>
                  <a:lnTo>
                    <a:pt x="3385" y="1381"/>
                  </a:lnTo>
                  <a:lnTo>
                    <a:pt x="3392" y="1406"/>
                  </a:lnTo>
                  <a:lnTo>
                    <a:pt x="3396" y="1432"/>
                  </a:lnTo>
                  <a:lnTo>
                    <a:pt x="3396" y="1455"/>
                  </a:lnTo>
                  <a:lnTo>
                    <a:pt x="3394" y="1476"/>
                  </a:lnTo>
                  <a:lnTo>
                    <a:pt x="3391" y="1493"/>
                  </a:lnTo>
                  <a:lnTo>
                    <a:pt x="3386" y="1510"/>
                  </a:lnTo>
                  <a:lnTo>
                    <a:pt x="3381" y="1526"/>
                  </a:lnTo>
                  <a:lnTo>
                    <a:pt x="3373" y="1545"/>
                  </a:lnTo>
                  <a:lnTo>
                    <a:pt x="3356" y="1577"/>
                  </a:lnTo>
                  <a:lnTo>
                    <a:pt x="3335" y="1608"/>
                  </a:lnTo>
                  <a:lnTo>
                    <a:pt x="3312" y="1636"/>
                  </a:lnTo>
                  <a:lnTo>
                    <a:pt x="3274" y="1675"/>
                  </a:lnTo>
                  <a:lnTo>
                    <a:pt x="3231" y="1710"/>
                  </a:lnTo>
                  <a:lnTo>
                    <a:pt x="3188" y="1741"/>
                  </a:lnTo>
                  <a:lnTo>
                    <a:pt x="3144" y="1767"/>
                  </a:lnTo>
                  <a:lnTo>
                    <a:pt x="3202" y="1775"/>
                  </a:lnTo>
                  <a:lnTo>
                    <a:pt x="3260" y="1788"/>
                  </a:lnTo>
                  <a:lnTo>
                    <a:pt x="3317" y="1806"/>
                  </a:lnTo>
                  <a:lnTo>
                    <a:pt x="3370" y="1829"/>
                  </a:lnTo>
                  <a:lnTo>
                    <a:pt x="3420" y="1857"/>
                  </a:lnTo>
                  <a:lnTo>
                    <a:pt x="3466" y="1889"/>
                  </a:lnTo>
                  <a:lnTo>
                    <a:pt x="3496" y="1916"/>
                  </a:lnTo>
                  <a:lnTo>
                    <a:pt x="3525" y="1947"/>
                  </a:lnTo>
                  <a:lnTo>
                    <a:pt x="3548" y="1981"/>
                  </a:lnTo>
                  <a:lnTo>
                    <a:pt x="3570" y="2019"/>
                  </a:lnTo>
                  <a:lnTo>
                    <a:pt x="3587" y="2060"/>
                  </a:lnTo>
                  <a:lnTo>
                    <a:pt x="3600" y="2103"/>
                  </a:lnTo>
                  <a:lnTo>
                    <a:pt x="3606" y="2151"/>
                  </a:lnTo>
                  <a:lnTo>
                    <a:pt x="3610" y="2202"/>
                  </a:lnTo>
                  <a:lnTo>
                    <a:pt x="3609" y="2241"/>
                  </a:lnTo>
                  <a:lnTo>
                    <a:pt x="3604" y="2281"/>
                  </a:lnTo>
                  <a:lnTo>
                    <a:pt x="3598" y="2321"/>
                  </a:lnTo>
                  <a:lnTo>
                    <a:pt x="3589" y="2361"/>
                  </a:lnTo>
                  <a:lnTo>
                    <a:pt x="3576" y="2396"/>
                  </a:lnTo>
                  <a:lnTo>
                    <a:pt x="3567" y="2418"/>
                  </a:lnTo>
                  <a:lnTo>
                    <a:pt x="3554" y="2444"/>
                  </a:lnTo>
                  <a:lnTo>
                    <a:pt x="3539" y="2474"/>
                  </a:lnTo>
                  <a:lnTo>
                    <a:pt x="3519" y="2507"/>
                  </a:lnTo>
                  <a:lnTo>
                    <a:pt x="3495" y="2543"/>
                  </a:lnTo>
                  <a:lnTo>
                    <a:pt x="3466" y="2580"/>
                  </a:lnTo>
                  <a:lnTo>
                    <a:pt x="3432" y="2618"/>
                  </a:lnTo>
                  <a:lnTo>
                    <a:pt x="3391" y="2657"/>
                  </a:lnTo>
                  <a:lnTo>
                    <a:pt x="3344" y="2695"/>
                  </a:lnTo>
                  <a:lnTo>
                    <a:pt x="3291" y="2733"/>
                  </a:lnTo>
                  <a:lnTo>
                    <a:pt x="3236" y="2765"/>
                  </a:lnTo>
                  <a:lnTo>
                    <a:pt x="3183" y="2790"/>
                  </a:lnTo>
                  <a:lnTo>
                    <a:pt x="3130" y="2811"/>
                  </a:lnTo>
                  <a:lnTo>
                    <a:pt x="3076" y="2827"/>
                  </a:lnTo>
                  <a:lnTo>
                    <a:pt x="3024" y="2837"/>
                  </a:lnTo>
                  <a:lnTo>
                    <a:pt x="2973" y="2844"/>
                  </a:lnTo>
                  <a:lnTo>
                    <a:pt x="2924" y="2846"/>
                  </a:lnTo>
                  <a:lnTo>
                    <a:pt x="2880" y="2847"/>
                  </a:lnTo>
                  <a:lnTo>
                    <a:pt x="2839" y="2844"/>
                  </a:lnTo>
                  <a:lnTo>
                    <a:pt x="2802" y="2838"/>
                  </a:lnTo>
                  <a:lnTo>
                    <a:pt x="2770" y="2830"/>
                  </a:lnTo>
                  <a:lnTo>
                    <a:pt x="2740" y="2822"/>
                  </a:lnTo>
                  <a:lnTo>
                    <a:pt x="2717" y="2812"/>
                  </a:lnTo>
                  <a:lnTo>
                    <a:pt x="2697" y="2803"/>
                  </a:lnTo>
                  <a:lnTo>
                    <a:pt x="2683" y="2796"/>
                  </a:lnTo>
                  <a:lnTo>
                    <a:pt x="2672" y="2789"/>
                  </a:lnTo>
                  <a:lnTo>
                    <a:pt x="2660" y="2781"/>
                  </a:lnTo>
                  <a:lnTo>
                    <a:pt x="2645" y="2771"/>
                  </a:lnTo>
                  <a:lnTo>
                    <a:pt x="2629" y="2758"/>
                  </a:lnTo>
                  <a:lnTo>
                    <a:pt x="2613" y="2745"/>
                  </a:lnTo>
                  <a:lnTo>
                    <a:pt x="2600" y="2731"/>
                  </a:lnTo>
                  <a:lnTo>
                    <a:pt x="2589" y="2718"/>
                  </a:lnTo>
                  <a:lnTo>
                    <a:pt x="2586" y="2708"/>
                  </a:lnTo>
                  <a:lnTo>
                    <a:pt x="2584" y="2698"/>
                  </a:lnTo>
                  <a:lnTo>
                    <a:pt x="2584" y="2688"/>
                  </a:lnTo>
                  <a:lnTo>
                    <a:pt x="2587" y="2679"/>
                  </a:lnTo>
                  <a:lnTo>
                    <a:pt x="2592" y="2672"/>
                  </a:lnTo>
                  <a:lnTo>
                    <a:pt x="2600" y="2668"/>
                  </a:lnTo>
                  <a:lnTo>
                    <a:pt x="2609" y="2669"/>
                  </a:lnTo>
                  <a:lnTo>
                    <a:pt x="2620" y="2676"/>
                  </a:lnTo>
                  <a:lnTo>
                    <a:pt x="2628" y="2681"/>
                  </a:lnTo>
                  <a:lnTo>
                    <a:pt x="2639" y="2688"/>
                  </a:lnTo>
                  <a:lnTo>
                    <a:pt x="2655" y="2697"/>
                  </a:lnTo>
                  <a:lnTo>
                    <a:pt x="2675" y="2707"/>
                  </a:lnTo>
                  <a:lnTo>
                    <a:pt x="2697" y="2717"/>
                  </a:lnTo>
                  <a:lnTo>
                    <a:pt x="2722" y="2729"/>
                  </a:lnTo>
                  <a:lnTo>
                    <a:pt x="2750" y="2738"/>
                  </a:lnTo>
                  <a:lnTo>
                    <a:pt x="2779" y="2746"/>
                  </a:lnTo>
                  <a:lnTo>
                    <a:pt x="2809" y="2753"/>
                  </a:lnTo>
                  <a:lnTo>
                    <a:pt x="2839" y="2756"/>
                  </a:lnTo>
                  <a:lnTo>
                    <a:pt x="2864" y="2756"/>
                  </a:lnTo>
                  <a:lnTo>
                    <a:pt x="2893" y="2756"/>
                  </a:lnTo>
                  <a:lnTo>
                    <a:pt x="2924" y="2754"/>
                  </a:lnTo>
                  <a:lnTo>
                    <a:pt x="2956" y="2749"/>
                  </a:lnTo>
                  <a:lnTo>
                    <a:pt x="2987" y="2745"/>
                  </a:lnTo>
                  <a:lnTo>
                    <a:pt x="3015" y="2738"/>
                  </a:lnTo>
                  <a:lnTo>
                    <a:pt x="3039" y="2731"/>
                  </a:lnTo>
                  <a:lnTo>
                    <a:pt x="3081" y="2714"/>
                  </a:lnTo>
                  <a:lnTo>
                    <a:pt x="3119" y="2696"/>
                  </a:lnTo>
                  <a:lnTo>
                    <a:pt x="3156" y="2675"/>
                  </a:lnTo>
                  <a:lnTo>
                    <a:pt x="3191" y="2651"/>
                  </a:lnTo>
                  <a:lnTo>
                    <a:pt x="3227" y="2625"/>
                  </a:lnTo>
                  <a:lnTo>
                    <a:pt x="3270" y="2588"/>
                  </a:lnTo>
                  <a:lnTo>
                    <a:pt x="3309" y="2548"/>
                  </a:lnTo>
                  <a:lnTo>
                    <a:pt x="3344" y="2503"/>
                  </a:lnTo>
                  <a:lnTo>
                    <a:pt x="3375" y="2456"/>
                  </a:lnTo>
                  <a:lnTo>
                    <a:pt x="3395" y="2416"/>
                  </a:lnTo>
                  <a:lnTo>
                    <a:pt x="3412" y="2373"/>
                  </a:lnTo>
                  <a:lnTo>
                    <a:pt x="3424" y="2328"/>
                  </a:lnTo>
                  <a:lnTo>
                    <a:pt x="3430" y="2283"/>
                  </a:lnTo>
                  <a:lnTo>
                    <a:pt x="3433" y="2234"/>
                  </a:lnTo>
                  <a:lnTo>
                    <a:pt x="3430" y="2193"/>
                  </a:lnTo>
                  <a:lnTo>
                    <a:pt x="3423" y="2154"/>
                  </a:lnTo>
                  <a:lnTo>
                    <a:pt x="3411" y="2119"/>
                  </a:lnTo>
                  <a:lnTo>
                    <a:pt x="3394" y="2086"/>
                  </a:lnTo>
                  <a:lnTo>
                    <a:pt x="3374" y="2055"/>
                  </a:lnTo>
                  <a:lnTo>
                    <a:pt x="3351" y="2027"/>
                  </a:lnTo>
                  <a:lnTo>
                    <a:pt x="3325" y="2002"/>
                  </a:lnTo>
                  <a:lnTo>
                    <a:pt x="3297" y="1979"/>
                  </a:lnTo>
                  <a:lnTo>
                    <a:pt x="3256" y="1954"/>
                  </a:lnTo>
                  <a:lnTo>
                    <a:pt x="3211" y="1932"/>
                  </a:lnTo>
                  <a:lnTo>
                    <a:pt x="3164" y="1915"/>
                  </a:lnTo>
                  <a:lnTo>
                    <a:pt x="3132" y="1908"/>
                  </a:lnTo>
                  <a:lnTo>
                    <a:pt x="3096" y="1901"/>
                  </a:lnTo>
                  <a:lnTo>
                    <a:pt x="3055" y="1898"/>
                  </a:lnTo>
                  <a:lnTo>
                    <a:pt x="3009" y="1897"/>
                  </a:lnTo>
                  <a:lnTo>
                    <a:pt x="2961" y="1898"/>
                  </a:lnTo>
                  <a:lnTo>
                    <a:pt x="2935" y="1899"/>
                  </a:lnTo>
                  <a:lnTo>
                    <a:pt x="2913" y="1898"/>
                  </a:lnTo>
                  <a:lnTo>
                    <a:pt x="2897" y="1895"/>
                  </a:lnTo>
                  <a:lnTo>
                    <a:pt x="2885" y="1890"/>
                  </a:lnTo>
                  <a:lnTo>
                    <a:pt x="2877" y="1886"/>
                  </a:lnTo>
                  <a:lnTo>
                    <a:pt x="2871" y="1881"/>
                  </a:lnTo>
                  <a:lnTo>
                    <a:pt x="2868" y="1878"/>
                  </a:lnTo>
                  <a:lnTo>
                    <a:pt x="2866" y="1875"/>
                  </a:lnTo>
                  <a:lnTo>
                    <a:pt x="2865" y="1874"/>
                  </a:lnTo>
                  <a:lnTo>
                    <a:pt x="2865" y="1872"/>
                  </a:lnTo>
                  <a:lnTo>
                    <a:pt x="2863" y="1868"/>
                  </a:lnTo>
                  <a:lnTo>
                    <a:pt x="2862" y="1863"/>
                  </a:lnTo>
                  <a:lnTo>
                    <a:pt x="2861" y="1854"/>
                  </a:lnTo>
                  <a:lnTo>
                    <a:pt x="2863" y="1843"/>
                  </a:lnTo>
                  <a:lnTo>
                    <a:pt x="2868" y="1832"/>
                  </a:lnTo>
                  <a:lnTo>
                    <a:pt x="2878" y="1820"/>
                  </a:lnTo>
                  <a:lnTo>
                    <a:pt x="2893" y="1805"/>
                  </a:lnTo>
                  <a:lnTo>
                    <a:pt x="2913" y="1790"/>
                  </a:lnTo>
                  <a:lnTo>
                    <a:pt x="2933" y="1777"/>
                  </a:lnTo>
                  <a:lnTo>
                    <a:pt x="2955" y="1764"/>
                  </a:lnTo>
                  <a:lnTo>
                    <a:pt x="2979" y="1749"/>
                  </a:lnTo>
                  <a:lnTo>
                    <a:pt x="3004" y="1733"/>
                  </a:lnTo>
                  <a:lnTo>
                    <a:pt x="3053" y="1697"/>
                  </a:lnTo>
                  <a:lnTo>
                    <a:pt x="3098" y="1657"/>
                  </a:lnTo>
                  <a:lnTo>
                    <a:pt x="3126" y="1628"/>
                  </a:lnTo>
                  <a:lnTo>
                    <a:pt x="3150" y="1598"/>
                  </a:lnTo>
                  <a:lnTo>
                    <a:pt x="3172" y="1566"/>
                  </a:lnTo>
                  <a:lnTo>
                    <a:pt x="3188" y="1532"/>
                  </a:lnTo>
                  <a:lnTo>
                    <a:pt x="3198" y="1498"/>
                  </a:lnTo>
                  <a:lnTo>
                    <a:pt x="3201" y="1461"/>
                  </a:lnTo>
                  <a:lnTo>
                    <a:pt x="3198" y="1433"/>
                  </a:lnTo>
                  <a:lnTo>
                    <a:pt x="3190" y="1406"/>
                  </a:lnTo>
                  <a:lnTo>
                    <a:pt x="3176" y="1385"/>
                  </a:lnTo>
                  <a:lnTo>
                    <a:pt x="3171" y="1378"/>
                  </a:lnTo>
                  <a:lnTo>
                    <a:pt x="3161" y="1372"/>
                  </a:lnTo>
                  <a:lnTo>
                    <a:pt x="3150" y="1366"/>
                  </a:lnTo>
                  <a:lnTo>
                    <a:pt x="3137" y="1360"/>
                  </a:lnTo>
                  <a:lnTo>
                    <a:pt x="3121" y="1355"/>
                  </a:lnTo>
                  <a:lnTo>
                    <a:pt x="3101" y="1353"/>
                  </a:lnTo>
                  <a:lnTo>
                    <a:pt x="3081" y="1353"/>
                  </a:lnTo>
                  <a:lnTo>
                    <a:pt x="3057" y="1356"/>
                  </a:lnTo>
                  <a:lnTo>
                    <a:pt x="3032" y="1364"/>
                  </a:lnTo>
                  <a:lnTo>
                    <a:pt x="3004" y="1376"/>
                  </a:lnTo>
                  <a:lnTo>
                    <a:pt x="2974" y="1393"/>
                  </a:lnTo>
                  <a:lnTo>
                    <a:pt x="2942" y="1416"/>
                  </a:lnTo>
                  <a:lnTo>
                    <a:pt x="2925" y="1430"/>
                  </a:lnTo>
                  <a:lnTo>
                    <a:pt x="2905" y="1449"/>
                  </a:lnTo>
                  <a:lnTo>
                    <a:pt x="2882" y="1470"/>
                  </a:lnTo>
                  <a:lnTo>
                    <a:pt x="2856" y="1495"/>
                  </a:lnTo>
                  <a:lnTo>
                    <a:pt x="2828" y="1521"/>
                  </a:lnTo>
                  <a:lnTo>
                    <a:pt x="2798" y="1551"/>
                  </a:lnTo>
                  <a:lnTo>
                    <a:pt x="2768" y="1581"/>
                  </a:lnTo>
                  <a:lnTo>
                    <a:pt x="2736" y="1612"/>
                  </a:lnTo>
                  <a:lnTo>
                    <a:pt x="2703" y="1644"/>
                  </a:lnTo>
                  <a:lnTo>
                    <a:pt x="2670" y="1676"/>
                  </a:lnTo>
                  <a:lnTo>
                    <a:pt x="2638" y="1708"/>
                  </a:lnTo>
                  <a:lnTo>
                    <a:pt x="2607" y="1739"/>
                  </a:lnTo>
                  <a:lnTo>
                    <a:pt x="2575" y="1767"/>
                  </a:lnTo>
                  <a:lnTo>
                    <a:pt x="2545" y="1794"/>
                  </a:lnTo>
                  <a:lnTo>
                    <a:pt x="2517" y="1820"/>
                  </a:lnTo>
                  <a:lnTo>
                    <a:pt x="2491" y="1841"/>
                  </a:lnTo>
                  <a:lnTo>
                    <a:pt x="2467" y="1859"/>
                  </a:lnTo>
                  <a:lnTo>
                    <a:pt x="2447" y="1874"/>
                  </a:lnTo>
                  <a:lnTo>
                    <a:pt x="2428" y="1884"/>
                  </a:lnTo>
                  <a:lnTo>
                    <a:pt x="2426" y="1884"/>
                  </a:lnTo>
                  <a:lnTo>
                    <a:pt x="2420" y="1889"/>
                  </a:lnTo>
                  <a:lnTo>
                    <a:pt x="2410" y="1896"/>
                  </a:lnTo>
                  <a:lnTo>
                    <a:pt x="2398" y="1904"/>
                  </a:lnTo>
                  <a:lnTo>
                    <a:pt x="2381" y="1914"/>
                  </a:lnTo>
                  <a:lnTo>
                    <a:pt x="2361" y="1924"/>
                  </a:lnTo>
                  <a:lnTo>
                    <a:pt x="2338" y="1933"/>
                  </a:lnTo>
                  <a:lnTo>
                    <a:pt x="2311" y="1941"/>
                  </a:lnTo>
                  <a:lnTo>
                    <a:pt x="2283" y="1948"/>
                  </a:lnTo>
                  <a:lnTo>
                    <a:pt x="2250" y="1952"/>
                  </a:lnTo>
                  <a:lnTo>
                    <a:pt x="2215" y="1952"/>
                  </a:lnTo>
                  <a:lnTo>
                    <a:pt x="2182" y="1947"/>
                  </a:lnTo>
                  <a:lnTo>
                    <a:pt x="2153" y="1938"/>
                  </a:lnTo>
                  <a:lnTo>
                    <a:pt x="2125" y="1924"/>
                  </a:lnTo>
                  <a:lnTo>
                    <a:pt x="2103" y="1908"/>
                  </a:lnTo>
                  <a:lnTo>
                    <a:pt x="2081" y="1890"/>
                  </a:lnTo>
                  <a:lnTo>
                    <a:pt x="2064" y="1870"/>
                  </a:lnTo>
                  <a:lnTo>
                    <a:pt x="2048" y="1848"/>
                  </a:lnTo>
                  <a:lnTo>
                    <a:pt x="2036" y="1827"/>
                  </a:lnTo>
                  <a:lnTo>
                    <a:pt x="2024" y="1806"/>
                  </a:lnTo>
                  <a:lnTo>
                    <a:pt x="2015" y="1787"/>
                  </a:lnTo>
                  <a:lnTo>
                    <a:pt x="2008" y="1768"/>
                  </a:lnTo>
                  <a:lnTo>
                    <a:pt x="2004" y="1754"/>
                  </a:lnTo>
                  <a:lnTo>
                    <a:pt x="1995" y="1715"/>
                  </a:lnTo>
                  <a:lnTo>
                    <a:pt x="1988" y="1673"/>
                  </a:lnTo>
                  <a:lnTo>
                    <a:pt x="1985" y="1627"/>
                  </a:lnTo>
                  <a:lnTo>
                    <a:pt x="1983" y="1579"/>
                  </a:lnTo>
                  <a:lnTo>
                    <a:pt x="1983" y="1529"/>
                  </a:lnTo>
                  <a:lnTo>
                    <a:pt x="1985" y="1478"/>
                  </a:lnTo>
                  <a:lnTo>
                    <a:pt x="1988" y="1427"/>
                  </a:lnTo>
                  <a:lnTo>
                    <a:pt x="1993" y="1376"/>
                  </a:lnTo>
                  <a:lnTo>
                    <a:pt x="1997" y="1326"/>
                  </a:lnTo>
                  <a:lnTo>
                    <a:pt x="2003" y="1278"/>
                  </a:lnTo>
                  <a:lnTo>
                    <a:pt x="2007" y="1232"/>
                  </a:lnTo>
                  <a:lnTo>
                    <a:pt x="2013" y="1190"/>
                  </a:lnTo>
                  <a:lnTo>
                    <a:pt x="2018" y="1153"/>
                  </a:lnTo>
                  <a:lnTo>
                    <a:pt x="2022" y="1121"/>
                  </a:lnTo>
                  <a:lnTo>
                    <a:pt x="2024" y="1094"/>
                  </a:lnTo>
                  <a:lnTo>
                    <a:pt x="2027" y="1066"/>
                  </a:lnTo>
                  <a:lnTo>
                    <a:pt x="2031" y="1033"/>
                  </a:lnTo>
                  <a:lnTo>
                    <a:pt x="2035" y="997"/>
                  </a:lnTo>
                  <a:lnTo>
                    <a:pt x="2040" y="958"/>
                  </a:lnTo>
                  <a:lnTo>
                    <a:pt x="2045" y="916"/>
                  </a:lnTo>
                  <a:lnTo>
                    <a:pt x="2049" y="874"/>
                  </a:lnTo>
                  <a:lnTo>
                    <a:pt x="2054" y="831"/>
                  </a:lnTo>
                  <a:lnTo>
                    <a:pt x="2058" y="789"/>
                  </a:lnTo>
                  <a:lnTo>
                    <a:pt x="2062" y="748"/>
                  </a:lnTo>
                  <a:lnTo>
                    <a:pt x="2064" y="709"/>
                  </a:lnTo>
                  <a:lnTo>
                    <a:pt x="2065" y="674"/>
                  </a:lnTo>
                  <a:lnTo>
                    <a:pt x="2065" y="642"/>
                  </a:lnTo>
                  <a:lnTo>
                    <a:pt x="2064" y="615"/>
                  </a:lnTo>
                  <a:lnTo>
                    <a:pt x="2061" y="594"/>
                  </a:lnTo>
                  <a:lnTo>
                    <a:pt x="2055" y="574"/>
                  </a:lnTo>
                  <a:lnTo>
                    <a:pt x="2046" y="559"/>
                  </a:lnTo>
                  <a:lnTo>
                    <a:pt x="2036" y="549"/>
                  </a:lnTo>
                  <a:lnTo>
                    <a:pt x="2023" y="544"/>
                  </a:lnTo>
                  <a:lnTo>
                    <a:pt x="2010" y="544"/>
                  </a:lnTo>
                  <a:lnTo>
                    <a:pt x="1995" y="549"/>
                  </a:lnTo>
                  <a:lnTo>
                    <a:pt x="1978" y="558"/>
                  </a:lnTo>
                  <a:lnTo>
                    <a:pt x="1961" y="571"/>
                  </a:lnTo>
                  <a:lnTo>
                    <a:pt x="1941" y="590"/>
                  </a:lnTo>
                  <a:lnTo>
                    <a:pt x="1923" y="611"/>
                  </a:lnTo>
                  <a:lnTo>
                    <a:pt x="1904" y="636"/>
                  </a:lnTo>
                  <a:lnTo>
                    <a:pt x="1884" y="665"/>
                  </a:lnTo>
                  <a:lnTo>
                    <a:pt x="1879" y="673"/>
                  </a:lnTo>
                  <a:lnTo>
                    <a:pt x="1871" y="686"/>
                  </a:lnTo>
                  <a:lnTo>
                    <a:pt x="1861" y="704"/>
                  </a:lnTo>
                  <a:lnTo>
                    <a:pt x="1847" y="727"/>
                  </a:lnTo>
                  <a:lnTo>
                    <a:pt x="1833" y="754"/>
                  </a:lnTo>
                  <a:lnTo>
                    <a:pt x="1814" y="785"/>
                  </a:lnTo>
                  <a:lnTo>
                    <a:pt x="1795" y="819"/>
                  </a:lnTo>
                  <a:lnTo>
                    <a:pt x="1775" y="857"/>
                  </a:lnTo>
                  <a:lnTo>
                    <a:pt x="1752" y="897"/>
                  </a:lnTo>
                  <a:lnTo>
                    <a:pt x="1728" y="940"/>
                  </a:lnTo>
                  <a:lnTo>
                    <a:pt x="1703" y="984"/>
                  </a:lnTo>
                  <a:lnTo>
                    <a:pt x="1678" y="1030"/>
                  </a:lnTo>
                  <a:lnTo>
                    <a:pt x="1652" y="1078"/>
                  </a:lnTo>
                  <a:lnTo>
                    <a:pt x="1625" y="1125"/>
                  </a:lnTo>
                  <a:lnTo>
                    <a:pt x="1598" y="1174"/>
                  </a:lnTo>
                  <a:lnTo>
                    <a:pt x="1570" y="1222"/>
                  </a:lnTo>
                  <a:lnTo>
                    <a:pt x="1544" y="1271"/>
                  </a:lnTo>
                  <a:lnTo>
                    <a:pt x="1517" y="1319"/>
                  </a:lnTo>
                  <a:lnTo>
                    <a:pt x="1491" y="1366"/>
                  </a:lnTo>
                  <a:lnTo>
                    <a:pt x="1466" y="1411"/>
                  </a:lnTo>
                  <a:lnTo>
                    <a:pt x="1442" y="1454"/>
                  </a:lnTo>
                  <a:lnTo>
                    <a:pt x="1418" y="1496"/>
                  </a:lnTo>
                  <a:lnTo>
                    <a:pt x="1397" y="1535"/>
                  </a:lnTo>
                  <a:lnTo>
                    <a:pt x="1376" y="1571"/>
                  </a:lnTo>
                  <a:lnTo>
                    <a:pt x="1358" y="1604"/>
                  </a:lnTo>
                  <a:lnTo>
                    <a:pt x="1342" y="1634"/>
                  </a:lnTo>
                  <a:lnTo>
                    <a:pt x="1328" y="1659"/>
                  </a:lnTo>
                  <a:lnTo>
                    <a:pt x="1316" y="1681"/>
                  </a:lnTo>
                  <a:lnTo>
                    <a:pt x="1307" y="1697"/>
                  </a:lnTo>
                  <a:lnTo>
                    <a:pt x="1300" y="1708"/>
                  </a:lnTo>
                  <a:lnTo>
                    <a:pt x="1297" y="1714"/>
                  </a:lnTo>
                  <a:lnTo>
                    <a:pt x="1274" y="1746"/>
                  </a:lnTo>
                  <a:lnTo>
                    <a:pt x="1255" y="1773"/>
                  </a:lnTo>
                  <a:lnTo>
                    <a:pt x="1238" y="1794"/>
                  </a:lnTo>
                  <a:lnTo>
                    <a:pt x="1222" y="1813"/>
                  </a:lnTo>
                  <a:lnTo>
                    <a:pt x="1206" y="1826"/>
                  </a:lnTo>
                  <a:lnTo>
                    <a:pt x="1191" y="1837"/>
                  </a:lnTo>
                  <a:lnTo>
                    <a:pt x="1175" y="1843"/>
                  </a:lnTo>
                  <a:lnTo>
                    <a:pt x="1157" y="1848"/>
                  </a:lnTo>
                  <a:lnTo>
                    <a:pt x="1138" y="1849"/>
                  </a:lnTo>
                  <a:lnTo>
                    <a:pt x="1116" y="1848"/>
                  </a:lnTo>
                  <a:lnTo>
                    <a:pt x="1094" y="1843"/>
                  </a:lnTo>
                  <a:lnTo>
                    <a:pt x="1074" y="1833"/>
                  </a:lnTo>
                  <a:lnTo>
                    <a:pt x="1059" y="1817"/>
                  </a:lnTo>
                  <a:lnTo>
                    <a:pt x="1044" y="1797"/>
                  </a:lnTo>
                  <a:lnTo>
                    <a:pt x="1031" y="1773"/>
                  </a:lnTo>
                  <a:lnTo>
                    <a:pt x="1021" y="1747"/>
                  </a:lnTo>
                  <a:lnTo>
                    <a:pt x="1012" y="1716"/>
                  </a:lnTo>
                  <a:lnTo>
                    <a:pt x="1005" y="1684"/>
                  </a:lnTo>
                  <a:lnTo>
                    <a:pt x="1000" y="1650"/>
                  </a:lnTo>
                  <a:lnTo>
                    <a:pt x="996" y="1615"/>
                  </a:lnTo>
                  <a:lnTo>
                    <a:pt x="993" y="1579"/>
                  </a:lnTo>
                  <a:lnTo>
                    <a:pt x="990" y="1544"/>
                  </a:lnTo>
                  <a:lnTo>
                    <a:pt x="989" y="1509"/>
                  </a:lnTo>
                  <a:lnTo>
                    <a:pt x="989" y="1475"/>
                  </a:lnTo>
                  <a:lnTo>
                    <a:pt x="988" y="1442"/>
                  </a:lnTo>
                  <a:lnTo>
                    <a:pt x="988" y="1412"/>
                  </a:lnTo>
                  <a:lnTo>
                    <a:pt x="989" y="1384"/>
                  </a:lnTo>
                  <a:lnTo>
                    <a:pt x="989" y="1360"/>
                  </a:lnTo>
                  <a:lnTo>
                    <a:pt x="989" y="1339"/>
                  </a:lnTo>
                  <a:lnTo>
                    <a:pt x="988" y="1323"/>
                  </a:lnTo>
                  <a:lnTo>
                    <a:pt x="988" y="1306"/>
                  </a:lnTo>
                  <a:lnTo>
                    <a:pt x="987" y="1282"/>
                  </a:lnTo>
                  <a:lnTo>
                    <a:pt x="987" y="1253"/>
                  </a:lnTo>
                  <a:lnTo>
                    <a:pt x="987" y="1219"/>
                  </a:lnTo>
                  <a:lnTo>
                    <a:pt x="987" y="1180"/>
                  </a:lnTo>
                  <a:lnTo>
                    <a:pt x="988" y="1138"/>
                  </a:lnTo>
                  <a:lnTo>
                    <a:pt x="988" y="1094"/>
                  </a:lnTo>
                  <a:lnTo>
                    <a:pt x="988" y="1048"/>
                  </a:lnTo>
                  <a:lnTo>
                    <a:pt x="989" y="1000"/>
                  </a:lnTo>
                  <a:lnTo>
                    <a:pt x="989" y="952"/>
                  </a:lnTo>
                  <a:lnTo>
                    <a:pt x="990" y="906"/>
                  </a:lnTo>
                  <a:lnTo>
                    <a:pt x="990" y="860"/>
                  </a:lnTo>
                  <a:lnTo>
                    <a:pt x="992" y="816"/>
                  </a:lnTo>
                  <a:lnTo>
                    <a:pt x="992" y="775"/>
                  </a:lnTo>
                  <a:lnTo>
                    <a:pt x="992" y="737"/>
                  </a:lnTo>
                  <a:lnTo>
                    <a:pt x="993" y="704"/>
                  </a:lnTo>
                  <a:lnTo>
                    <a:pt x="993" y="677"/>
                  </a:lnTo>
                  <a:lnTo>
                    <a:pt x="993" y="654"/>
                  </a:lnTo>
                  <a:lnTo>
                    <a:pt x="993" y="640"/>
                  </a:lnTo>
                  <a:lnTo>
                    <a:pt x="993" y="632"/>
                  </a:lnTo>
                  <a:lnTo>
                    <a:pt x="989" y="605"/>
                  </a:lnTo>
                  <a:lnTo>
                    <a:pt x="982" y="584"/>
                  </a:lnTo>
                  <a:lnTo>
                    <a:pt x="975" y="569"/>
                  </a:lnTo>
                  <a:lnTo>
                    <a:pt x="963" y="559"/>
                  </a:lnTo>
                  <a:lnTo>
                    <a:pt x="951" y="555"/>
                  </a:lnTo>
                  <a:lnTo>
                    <a:pt x="936" y="558"/>
                  </a:lnTo>
                  <a:lnTo>
                    <a:pt x="920" y="566"/>
                  </a:lnTo>
                  <a:lnTo>
                    <a:pt x="903" y="579"/>
                  </a:lnTo>
                  <a:lnTo>
                    <a:pt x="886" y="599"/>
                  </a:lnTo>
                  <a:lnTo>
                    <a:pt x="868" y="625"/>
                  </a:lnTo>
                  <a:lnTo>
                    <a:pt x="866" y="627"/>
                  </a:lnTo>
                  <a:lnTo>
                    <a:pt x="861" y="636"/>
                  </a:lnTo>
                  <a:lnTo>
                    <a:pt x="854" y="649"/>
                  </a:lnTo>
                  <a:lnTo>
                    <a:pt x="844" y="667"/>
                  </a:lnTo>
                  <a:lnTo>
                    <a:pt x="832" y="690"/>
                  </a:lnTo>
                  <a:lnTo>
                    <a:pt x="818" y="716"/>
                  </a:lnTo>
                  <a:lnTo>
                    <a:pt x="801" y="745"/>
                  </a:lnTo>
                  <a:lnTo>
                    <a:pt x="783" y="780"/>
                  </a:lnTo>
                  <a:lnTo>
                    <a:pt x="762" y="816"/>
                  </a:lnTo>
                  <a:lnTo>
                    <a:pt x="741" y="855"/>
                  </a:lnTo>
                  <a:lnTo>
                    <a:pt x="718" y="897"/>
                  </a:lnTo>
                  <a:lnTo>
                    <a:pt x="694" y="941"/>
                  </a:lnTo>
                  <a:lnTo>
                    <a:pt x="668" y="987"/>
                  </a:lnTo>
                  <a:lnTo>
                    <a:pt x="642" y="1034"/>
                  </a:lnTo>
                  <a:lnTo>
                    <a:pt x="616" y="1083"/>
                  </a:lnTo>
                  <a:lnTo>
                    <a:pt x="589" y="1133"/>
                  </a:lnTo>
                  <a:lnTo>
                    <a:pt x="560" y="1183"/>
                  </a:lnTo>
                  <a:lnTo>
                    <a:pt x="532" y="1235"/>
                  </a:lnTo>
                  <a:lnTo>
                    <a:pt x="505" y="1286"/>
                  </a:lnTo>
                  <a:lnTo>
                    <a:pt x="476" y="1336"/>
                  </a:lnTo>
                  <a:lnTo>
                    <a:pt x="449" y="1386"/>
                  </a:lnTo>
                  <a:lnTo>
                    <a:pt x="422" y="1435"/>
                  </a:lnTo>
                  <a:lnTo>
                    <a:pt x="396" y="1484"/>
                  </a:lnTo>
                  <a:lnTo>
                    <a:pt x="370" y="1529"/>
                  </a:lnTo>
                  <a:lnTo>
                    <a:pt x="345" y="1575"/>
                  </a:lnTo>
                  <a:lnTo>
                    <a:pt x="322" y="1617"/>
                  </a:lnTo>
                  <a:lnTo>
                    <a:pt x="299" y="1658"/>
                  </a:lnTo>
                  <a:lnTo>
                    <a:pt x="279" y="1695"/>
                  </a:lnTo>
                  <a:lnTo>
                    <a:pt x="260" y="1730"/>
                  </a:lnTo>
                  <a:lnTo>
                    <a:pt x="243" y="1761"/>
                  </a:lnTo>
                  <a:lnTo>
                    <a:pt x="227" y="1789"/>
                  </a:lnTo>
                  <a:lnTo>
                    <a:pt x="213" y="1813"/>
                  </a:lnTo>
                  <a:lnTo>
                    <a:pt x="203" y="1832"/>
                  </a:lnTo>
                  <a:lnTo>
                    <a:pt x="194" y="1847"/>
                  </a:lnTo>
                  <a:lnTo>
                    <a:pt x="188" y="1857"/>
                  </a:lnTo>
                  <a:lnTo>
                    <a:pt x="186" y="1862"/>
                  </a:lnTo>
                  <a:lnTo>
                    <a:pt x="169" y="1886"/>
                  </a:lnTo>
                  <a:lnTo>
                    <a:pt x="154" y="1905"/>
                  </a:lnTo>
                  <a:lnTo>
                    <a:pt x="142" y="1920"/>
                  </a:lnTo>
                  <a:lnTo>
                    <a:pt x="130" y="1931"/>
                  </a:lnTo>
                  <a:lnTo>
                    <a:pt x="119" y="1938"/>
                  </a:lnTo>
                  <a:lnTo>
                    <a:pt x="110" y="1942"/>
                  </a:lnTo>
                  <a:lnTo>
                    <a:pt x="100" y="1946"/>
                  </a:lnTo>
                  <a:lnTo>
                    <a:pt x="90" y="1947"/>
                  </a:lnTo>
                  <a:lnTo>
                    <a:pt x="81" y="1947"/>
                  </a:lnTo>
                  <a:lnTo>
                    <a:pt x="71" y="1947"/>
                  </a:lnTo>
                  <a:lnTo>
                    <a:pt x="55" y="1946"/>
                  </a:lnTo>
                  <a:lnTo>
                    <a:pt x="41" y="1941"/>
                  </a:lnTo>
                  <a:lnTo>
                    <a:pt x="28" y="1933"/>
                  </a:lnTo>
                  <a:lnTo>
                    <a:pt x="18" y="1922"/>
                  </a:lnTo>
                  <a:lnTo>
                    <a:pt x="8" y="1904"/>
                  </a:lnTo>
                  <a:lnTo>
                    <a:pt x="2" y="1883"/>
                  </a:lnTo>
                  <a:lnTo>
                    <a:pt x="0" y="1860"/>
                  </a:lnTo>
                  <a:lnTo>
                    <a:pt x="1" y="1854"/>
                  </a:lnTo>
                  <a:lnTo>
                    <a:pt x="3" y="1840"/>
                  </a:lnTo>
                  <a:lnTo>
                    <a:pt x="6" y="1821"/>
                  </a:lnTo>
                  <a:lnTo>
                    <a:pt x="12" y="1794"/>
                  </a:lnTo>
                  <a:lnTo>
                    <a:pt x="18" y="1761"/>
                  </a:lnTo>
                  <a:lnTo>
                    <a:pt x="25" y="1725"/>
                  </a:lnTo>
                  <a:lnTo>
                    <a:pt x="34" y="1683"/>
                  </a:lnTo>
                  <a:lnTo>
                    <a:pt x="43" y="1636"/>
                  </a:lnTo>
                  <a:lnTo>
                    <a:pt x="53" y="1586"/>
                  </a:lnTo>
                  <a:lnTo>
                    <a:pt x="64" y="1532"/>
                  </a:lnTo>
                  <a:lnTo>
                    <a:pt x="76" y="1474"/>
                  </a:lnTo>
                  <a:lnTo>
                    <a:pt x="88" y="1414"/>
                  </a:lnTo>
                  <a:lnTo>
                    <a:pt x="101" y="1351"/>
                  </a:lnTo>
                  <a:lnTo>
                    <a:pt x="114" y="1287"/>
                  </a:lnTo>
                  <a:lnTo>
                    <a:pt x="128" y="1220"/>
                  </a:lnTo>
                  <a:lnTo>
                    <a:pt x="143" y="1153"/>
                  </a:lnTo>
                  <a:lnTo>
                    <a:pt x="156" y="1084"/>
                  </a:lnTo>
                  <a:lnTo>
                    <a:pt x="171" y="1016"/>
                  </a:lnTo>
                  <a:lnTo>
                    <a:pt x="185" y="947"/>
                  </a:lnTo>
                  <a:lnTo>
                    <a:pt x="199" y="880"/>
                  </a:lnTo>
                  <a:lnTo>
                    <a:pt x="214" y="811"/>
                  </a:lnTo>
                  <a:lnTo>
                    <a:pt x="228" y="745"/>
                  </a:lnTo>
                  <a:lnTo>
                    <a:pt x="241" y="682"/>
                  </a:lnTo>
                  <a:lnTo>
                    <a:pt x="255" y="619"/>
                  </a:lnTo>
                  <a:lnTo>
                    <a:pt x="268" y="559"/>
                  </a:lnTo>
                  <a:lnTo>
                    <a:pt x="280" y="502"/>
                  </a:lnTo>
                  <a:lnTo>
                    <a:pt x="291" y="447"/>
                  </a:lnTo>
                  <a:lnTo>
                    <a:pt x="302" y="397"/>
                  </a:lnTo>
                  <a:lnTo>
                    <a:pt x="312" y="352"/>
                  </a:lnTo>
                  <a:lnTo>
                    <a:pt x="321" y="310"/>
                  </a:lnTo>
                  <a:lnTo>
                    <a:pt x="330" y="273"/>
                  </a:lnTo>
                  <a:lnTo>
                    <a:pt x="337" y="241"/>
                  </a:lnTo>
                  <a:lnTo>
                    <a:pt x="342" y="216"/>
                  </a:lnTo>
                  <a:lnTo>
                    <a:pt x="347" y="196"/>
                  </a:lnTo>
                  <a:lnTo>
                    <a:pt x="350" y="183"/>
                  </a:lnTo>
                  <a:lnTo>
                    <a:pt x="353" y="176"/>
                  </a:lnTo>
                  <a:lnTo>
                    <a:pt x="359" y="155"/>
                  </a:lnTo>
                  <a:lnTo>
                    <a:pt x="371" y="134"/>
                  </a:lnTo>
                  <a:lnTo>
                    <a:pt x="384" y="117"/>
                  </a:lnTo>
                  <a:lnTo>
                    <a:pt x="398" y="101"/>
                  </a:lnTo>
                  <a:lnTo>
                    <a:pt x="414" y="89"/>
                  </a:lnTo>
                  <a:lnTo>
                    <a:pt x="428" y="79"/>
                  </a:lnTo>
                  <a:lnTo>
                    <a:pt x="441" y="70"/>
                  </a:lnTo>
                  <a:lnTo>
                    <a:pt x="451" y="64"/>
                  </a:lnTo>
                  <a:lnTo>
                    <a:pt x="458" y="60"/>
                  </a:lnTo>
                  <a:lnTo>
                    <a:pt x="460" y="59"/>
                  </a:lnTo>
                  <a:lnTo>
                    <a:pt x="463" y="58"/>
                  </a:lnTo>
                  <a:lnTo>
                    <a:pt x="471" y="54"/>
                  </a:lnTo>
                  <a:lnTo>
                    <a:pt x="481" y="48"/>
                  </a:lnTo>
                  <a:lnTo>
                    <a:pt x="496" y="41"/>
                  </a:lnTo>
                  <a:lnTo>
                    <a:pt x="512" y="33"/>
                  </a:lnTo>
                  <a:lnTo>
                    <a:pt x="530" y="25"/>
                  </a:lnTo>
                  <a:lnTo>
                    <a:pt x="549" y="17"/>
                  </a:lnTo>
                  <a:lnTo>
                    <a:pt x="568" y="10"/>
                  </a:lnTo>
                  <a:lnTo>
                    <a:pt x="586" y="5"/>
                  </a:lnTo>
                  <a:lnTo>
                    <a:pt x="603" y="1"/>
                  </a:lnTo>
                  <a:lnTo>
                    <a:pt x="619" y="0"/>
                  </a:lnTo>
                  <a:close/>
                </a:path>
              </a:pathLst>
            </a:custGeom>
            <a:solidFill>
              <a:srgbClr val="F8093D"/>
            </a:solidFill>
            <a:ln w="0">
              <a:solidFill>
                <a:srgbClr val="F8093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AB4250F3-71DA-4100-91BD-3F1213D6CFB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476" y="6595218"/>
            <a:ext cx="817667" cy="151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8805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Three boxes arrow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5BFCBF6-E9A4-4AB1-BDB3-729CCEC480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464613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73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B192E51-DAA9-4597-9C2F-DE21314C8D5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Meaningful, summary title with a max of 14 words</a:t>
            </a:r>
            <a:endParaRPr lang="nl-NL" dirty="0"/>
          </a:p>
        </p:txBody>
      </p:sp>
      <p:grpSp>
        <p:nvGrpSpPr>
          <p:cNvPr id="9" name="Groep 8"/>
          <p:cNvGrpSpPr/>
          <p:nvPr/>
        </p:nvGrpSpPr>
        <p:grpSpPr>
          <a:xfrm>
            <a:off x="5495974" y="1661724"/>
            <a:ext cx="2469899" cy="1008113"/>
            <a:chOff x="4465478" y="1661723"/>
            <a:chExt cx="2006793" cy="1008113"/>
          </a:xfrm>
        </p:grpSpPr>
        <p:sp>
          <p:nvSpPr>
            <p:cNvPr id="4" name="Vijfhoek 3"/>
            <p:cNvSpPr/>
            <p:nvPr/>
          </p:nvSpPr>
          <p:spPr>
            <a:xfrm>
              <a:off x="4600063" y="1661723"/>
              <a:ext cx="1872208" cy="1008113"/>
            </a:xfrm>
            <a:prstGeom prst="homePlate">
              <a:avLst>
                <a:gd name="adj" fmla="val 14387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" name="Vijfhoek 4"/>
            <p:cNvSpPr/>
            <p:nvPr/>
          </p:nvSpPr>
          <p:spPr>
            <a:xfrm>
              <a:off x="4465478" y="1661723"/>
              <a:ext cx="1872208" cy="1008113"/>
            </a:xfrm>
            <a:prstGeom prst="homePlate">
              <a:avLst>
                <a:gd name="adj" fmla="val 14387"/>
              </a:avLst>
            </a:prstGeom>
            <a:solidFill>
              <a:schemeClr val="bg1">
                <a:lumMod val="9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" name="Groep 7"/>
          <p:cNvGrpSpPr/>
          <p:nvPr/>
        </p:nvGrpSpPr>
        <p:grpSpPr>
          <a:xfrm>
            <a:off x="2026292" y="1661724"/>
            <a:ext cx="2469899" cy="1008113"/>
            <a:chOff x="1646362" y="1661723"/>
            <a:chExt cx="2006793" cy="1008113"/>
          </a:xfrm>
        </p:grpSpPr>
        <p:sp>
          <p:nvSpPr>
            <p:cNvPr id="6" name="Vijfhoek 5"/>
            <p:cNvSpPr/>
            <p:nvPr/>
          </p:nvSpPr>
          <p:spPr>
            <a:xfrm>
              <a:off x="1780947" y="1661723"/>
              <a:ext cx="1872208" cy="1008113"/>
            </a:xfrm>
            <a:prstGeom prst="homePlate">
              <a:avLst>
                <a:gd name="adj" fmla="val 14387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Vijfhoek 6"/>
            <p:cNvSpPr/>
            <p:nvPr/>
          </p:nvSpPr>
          <p:spPr>
            <a:xfrm>
              <a:off x="1646362" y="1661723"/>
              <a:ext cx="1872208" cy="1008113"/>
            </a:xfrm>
            <a:prstGeom prst="homePlate">
              <a:avLst>
                <a:gd name="adj" fmla="val 14387"/>
              </a:avLst>
            </a:prstGeom>
            <a:solidFill>
              <a:schemeClr val="bg1">
                <a:lumMod val="9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0" name="Rechthoek 19"/>
          <p:cNvSpPr/>
          <p:nvPr/>
        </p:nvSpPr>
        <p:spPr>
          <a:xfrm>
            <a:off x="1108571" y="1097025"/>
            <a:ext cx="2924694" cy="468153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2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5" hasCustomPrompt="1"/>
          </p:nvPr>
        </p:nvSpPr>
        <p:spPr>
          <a:xfrm>
            <a:off x="1201803" y="1162112"/>
            <a:ext cx="2704523" cy="427038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1080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tx2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IN CAPITALS 16 PX</a:t>
            </a:r>
          </a:p>
        </p:txBody>
      </p:sp>
      <p:sp>
        <p:nvSpPr>
          <p:cNvPr id="22" name="Tijdelijke aanduiding voor tekst 25"/>
          <p:cNvSpPr>
            <a:spLocks noGrp="1"/>
          </p:cNvSpPr>
          <p:nvPr>
            <p:ph type="body" sz="quarter" idx="18"/>
          </p:nvPr>
        </p:nvSpPr>
        <p:spPr>
          <a:xfrm>
            <a:off x="1201803" y="1674000"/>
            <a:ext cx="2704523" cy="3960000"/>
          </a:xfrm>
          <a:solidFill>
            <a:schemeClr val="bg1"/>
          </a:solidFill>
        </p:spPr>
        <p:txBody>
          <a:bodyPr/>
          <a:lstStyle>
            <a:lvl1pPr>
              <a:defRPr sz="1100">
                <a:latin typeface="+mj-lt"/>
              </a:defRPr>
            </a:lvl1pPr>
            <a:lvl2pPr marL="180975" indent="-180975">
              <a:buFont typeface="Arial" pitchFamily="34" charset="0"/>
              <a:buChar char="•"/>
              <a:defRPr kumimoji="0" lang="nl-NL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2pPr>
            <a:lvl3pPr>
              <a:defRPr sz="1050">
                <a:latin typeface="+mj-lt"/>
              </a:defRPr>
            </a:lvl3pPr>
            <a:lvl4pPr>
              <a:defRPr sz="105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Rechthoek 22"/>
          <p:cNvSpPr/>
          <p:nvPr/>
        </p:nvSpPr>
        <p:spPr>
          <a:xfrm>
            <a:off x="4564955" y="1097025"/>
            <a:ext cx="2924694" cy="468153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2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ijdelijke aanduiding voor tekst 20"/>
          <p:cNvSpPr>
            <a:spLocks noGrp="1"/>
          </p:cNvSpPr>
          <p:nvPr>
            <p:ph type="body" sz="quarter" idx="19" hasCustomPrompt="1"/>
          </p:nvPr>
        </p:nvSpPr>
        <p:spPr>
          <a:xfrm>
            <a:off x="4658187" y="1162112"/>
            <a:ext cx="2704523" cy="427038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1080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tx2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IN CAPITALS 16 PX</a:t>
            </a:r>
          </a:p>
        </p:txBody>
      </p:sp>
      <p:sp>
        <p:nvSpPr>
          <p:cNvPr id="25" name="Tijdelijke aanduiding voor tekst 25"/>
          <p:cNvSpPr>
            <a:spLocks noGrp="1"/>
          </p:cNvSpPr>
          <p:nvPr>
            <p:ph type="body" sz="quarter" idx="20"/>
          </p:nvPr>
        </p:nvSpPr>
        <p:spPr>
          <a:xfrm>
            <a:off x="4658187" y="1674000"/>
            <a:ext cx="2704523" cy="3960000"/>
          </a:xfrm>
          <a:solidFill>
            <a:schemeClr val="bg1"/>
          </a:solidFill>
        </p:spPr>
        <p:txBody>
          <a:bodyPr/>
          <a:lstStyle>
            <a:lvl1pPr>
              <a:defRPr sz="1100">
                <a:latin typeface="+mn-lt"/>
              </a:defRPr>
            </a:lvl1pPr>
            <a:lvl2pPr marL="180975" indent="-180975">
              <a:buFont typeface="Arial" pitchFamily="34" charset="0"/>
              <a:buChar char="•"/>
              <a:defRPr kumimoji="0" lang="nl-NL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2pPr>
            <a:lvl3pPr>
              <a:defRPr sz="1050">
                <a:latin typeface="+mn-lt"/>
              </a:defRPr>
            </a:lvl3pPr>
            <a:lvl4pPr>
              <a:defRPr sz="105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6" name="Rechthoek 25"/>
          <p:cNvSpPr/>
          <p:nvPr/>
        </p:nvSpPr>
        <p:spPr>
          <a:xfrm>
            <a:off x="8021339" y="1097025"/>
            <a:ext cx="2924694" cy="468153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2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ijdelijke aanduiding voor tekst 20"/>
          <p:cNvSpPr>
            <a:spLocks noGrp="1"/>
          </p:cNvSpPr>
          <p:nvPr>
            <p:ph type="body" sz="quarter" idx="21" hasCustomPrompt="1"/>
          </p:nvPr>
        </p:nvSpPr>
        <p:spPr>
          <a:xfrm>
            <a:off x="8114571" y="1162112"/>
            <a:ext cx="2704523" cy="427038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1080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tx2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IN CAPITALS 16 PX</a:t>
            </a:r>
          </a:p>
        </p:txBody>
      </p:sp>
      <p:sp>
        <p:nvSpPr>
          <p:cNvPr id="28" name="Tijdelijke aanduiding voor tekst 25"/>
          <p:cNvSpPr>
            <a:spLocks noGrp="1"/>
          </p:cNvSpPr>
          <p:nvPr>
            <p:ph type="body" sz="quarter" idx="22"/>
          </p:nvPr>
        </p:nvSpPr>
        <p:spPr>
          <a:xfrm>
            <a:off x="8114571" y="1674000"/>
            <a:ext cx="2704523" cy="3960000"/>
          </a:xfrm>
          <a:solidFill>
            <a:schemeClr val="bg1"/>
          </a:solidFill>
        </p:spPr>
        <p:txBody>
          <a:bodyPr/>
          <a:lstStyle>
            <a:lvl1pPr>
              <a:defRPr sz="1100">
                <a:latin typeface="+mn-lt"/>
              </a:defRPr>
            </a:lvl1pPr>
            <a:lvl2pPr marL="180975" indent="-180975">
              <a:buFont typeface="Arial" pitchFamily="34" charset="0"/>
              <a:buChar char="•"/>
              <a:defRPr kumimoji="0" lang="nl-NL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2pPr>
            <a:lvl3pPr>
              <a:defRPr sz="1050">
                <a:latin typeface="+mn-lt"/>
              </a:defRPr>
            </a:lvl3pPr>
            <a:lvl4pPr>
              <a:defRPr sz="105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ijdelijke aanduiding voor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9119115" y="6636274"/>
            <a:ext cx="2928815" cy="231775"/>
          </a:xfrm>
        </p:spPr>
        <p:txBody>
          <a:bodyPr anchor="b"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  <p:sp>
        <p:nvSpPr>
          <p:cNvPr id="18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</p:spTree>
    <p:extLst>
      <p:ext uri="{BB962C8B-B14F-4D97-AF65-F5344CB8AC3E}">
        <p14:creationId xmlns:p14="http://schemas.microsoft.com/office/powerpoint/2010/main" val="4001533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Four Boxes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0859629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9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09BBA32-AAC9-478F-A791-B520C4192A28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22" name="Groep 21"/>
          <p:cNvGrpSpPr/>
          <p:nvPr/>
        </p:nvGrpSpPr>
        <p:grpSpPr>
          <a:xfrm>
            <a:off x="7033660" y="3239313"/>
            <a:ext cx="1895712" cy="1008113"/>
            <a:chOff x="3011904" y="3239315"/>
            <a:chExt cx="2006793" cy="1008113"/>
          </a:xfrm>
        </p:grpSpPr>
        <p:sp>
          <p:nvSpPr>
            <p:cNvPr id="23" name="Vijfhoek 22"/>
            <p:cNvSpPr/>
            <p:nvPr/>
          </p:nvSpPr>
          <p:spPr>
            <a:xfrm>
              <a:off x="3146489" y="3239315"/>
              <a:ext cx="1872208" cy="1008113"/>
            </a:xfrm>
            <a:prstGeom prst="homePlate">
              <a:avLst>
                <a:gd name="adj" fmla="val 14387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Vijfhoek 23"/>
            <p:cNvSpPr/>
            <p:nvPr/>
          </p:nvSpPr>
          <p:spPr>
            <a:xfrm>
              <a:off x="3011904" y="3239315"/>
              <a:ext cx="1872208" cy="1008113"/>
            </a:xfrm>
            <a:prstGeom prst="homePlate">
              <a:avLst>
                <a:gd name="adj" fmla="val 14387"/>
              </a:avLst>
            </a:prstGeom>
            <a:solidFill>
              <a:schemeClr val="bg1">
                <a:lumMod val="9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5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004503" y="1885986"/>
            <a:ext cx="2380512" cy="4072686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26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9003573" y="1373706"/>
            <a:ext cx="2380512" cy="434457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tIns="108000" anchor="ctr"/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600" b="0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ITLE BOX IN CAPITALS 16 PX</a:t>
            </a:r>
          </a:p>
        </p:txBody>
      </p:sp>
      <p:grpSp>
        <p:nvGrpSpPr>
          <p:cNvPr id="17" name="Groep 16"/>
          <p:cNvGrpSpPr/>
          <p:nvPr/>
        </p:nvGrpSpPr>
        <p:grpSpPr>
          <a:xfrm>
            <a:off x="4181274" y="3239315"/>
            <a:ext cx="1895712" cy="1008113"/>
            <a:chOff x="3011904" y="3239315"/>
            <a:chExt cx="2006793" cy="1008113"/>
          </a:xfrm>
        </p:grpSpPr>
        <p:sp>
          <p:nvSpPr>
            <p:cNvPr id="18" name="Vijfhoek 17"/>
            <p:cNvSpPr/>
            <p:nvPr/>
          </p:nvSpPr>
          <p:spPr>
            <a:xfrm>
              <a:off x="3146489" y="3239315"/>
              <a:ext cx="1872208" cy="1008113"/>
            </a:xfrm>
            <a:prstGeom prst="homePlate">
              <a:avLst>
                <a:gd name="adj" fmla="val 14387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Vijfhoek 18"/>
            <p:cNvSpPr/>
            <p:nvPr/>
          </p:nvSpPr>
          <p:spPr>
            <a:xfrm>
              <a:off x="3011904" y="3239315"/>
              <a:ext cx="1872208" cy="1008113"/>
            </a:xfrm>
            <a:prstGeom prst="homePlate">
              <a:avLst>
                <a:gd name="adj" fmla="val 14387"/>
              </a:avLst>
            </a:prstGeom>
            <a:solidFill>
              <a:schemeClr val="bg1">
                <a:lumMod val="9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0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149321" y="1885986"/>
            <a:ext cx="2380512" cy="4072686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6148390" y="1373706"/>
            <a:ext cx="2380512" cy="434457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tIns="108000" anchor="ctr"/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600" b="0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ITLE BOX IN CAPITALS 16 PX</a:t>
            </a:r>
          </a:p>
        </p:txBody>
      </p:sp>
      <p:grpSp>
        <p:nvGrpSpPr>
          <p:cNvPr id="3" name="Groep 2"/>
          <p:cNvGrpSpPr/>
          <p:nvPr/>
        </p:nvGrpSpPr>
        <p:grpSpPr>
          <a:xfrm>
            <a:off x="1348293" y="3239315"/>
            <a:ext cx="1895712" cy="1008113"/>
            <a:chOff x="3011904" y="3239315"/>
            <a:chExt cx="2006793" cy="1008113"/>
          </a:xfrm>
        </p:grpSpPr>
        <p:sp>
          <p:nvSpPr>
            <p:cNvPr id="15" name="Vijfhoek 14"/>
            <p:cNvSpPr/>
            <p:nvPr/>
          </p:nvSpPr>
          <p:spPr>
            <a:xfrm>
              <a:off x="3146489" y="3239315"/>
              <a:ext cx="1872208" cy="1008113"/>
            </a:xfrm>
            <a:prstGeom prst="homePlate">
              <a:avLst>
                <a:gd name="adj" fmla="val 14387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Vijfhoek 15"/>
            <p:cNvSpPr/>
            <p:nvPr/>
          </p:nvSpPr>
          <p:spPr>
            <a:xfrm>
              <a:off x="3011904" y="3239315"/>
              <a:ext cx="1872208" cy="1008113"/>
            </a:xfrm>
            <a:prstGeom prst="homePlate">
              <a:avLst>
                <a:gd name="adj" fmla="val 14387"/>
              </a:avLst>
            </a:prstGeom>
            <a:solidFill>
              <a:schemeClr val="bg1">
                <a:lumMod val="9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Tijdelijke aanduiding voor tekst 8"/>
          <p:cNvSpPr>
            <a:spLocks noGrp="1"/>
          </p:cNvSpPr>
          <p:nvPr>
            <p:ph type="body" sz="quarter" idx="11" hasCustomPrompt="1"/>
          </p:nvPr>
        </p:nvSpPr>
        <p:spPr>
          <a:xfrm>
            <a:off x="326293" y="736963"/>
            <a:ext cx="10633846" cy="360000"/>
          </a:xfrm>
        </p:spPr>
        <p:txBody>
          <a:bodyPr anchor="ctr"/>
          <a:lstStyle>
            <a:lvl1pPr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i="1">
                <a:solidFill>
                  <a:schemeClr val="accent1"/>
                </a:solidFill>
              </a:defRPr>
            </a:lvl2pPr>
            <a:lvl3pPr>
              <a:defRPr i="1">
                <a:solidFill>
                  <a:schemeClr val="accent1"/>
                </a:solidFill>
              </a:defRPr>
            </a:lvl3pPr>
            <a:lvl4pPr>
              <a:defRPr i="1">
                <a:solidFill>
                  <a:schemeClr val="accent1"/>
                </a:solidFill>
              </a:defRPr>
            </a:lvl4pPr>
            <a:lvl5pPr>
              <a:defRPr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AREA FOR GRAPH TITEL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7388" y="0"/>
            <a:ext cx="10633846" cy="692696"/>
          </a:xfrm>
        </p:spPr>
        <p:txBody>
          <a:bodyPr/>
          <a:lstStyle/>
          <a:p>
            <a:r>
              <a:rPr lang="en-GB" noProof="0" dirty="0"/>
              <a:t>Meaningful, summary title with a max of 14 words</a:t>
            </a:r>
            <a:endParaRPr lang="nl-NL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43855" y="1885987"/>
            <a:ext cx="2380512" cy="4075151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304055" y="1885987"/>
            <a:ext cx="2380512" cy="4072686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44007" y="1373707"/>
            <a:ext cx="2380512" cy="434457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tIns="108000" anchor="ctr"/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600" b="0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ITLE BOX IN CAPITALS 16 PX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303125" y="1373707"/>
            <a:ext cx="2380512" cy="434457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tIns="108000" anchor="ctr"/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600" b="0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ITLE BOX IN CAPITALS 16 PX</a:t>
            </a:r>
          </a:p>
        </p:txBody>
      </p:sp>
      <p:sp>
        <p:nvSpPr>
          <p:cNvPr id="13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  <p:sp>
        <p:nvSpPr>
          <p:cNvPr id="14" name="Tijdelijke aanduiding voor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9119115" y="6636274"/>
            <a:ext cx="2928815" cy="231775"/>
          </a:xfrm>
        </p:spPr>
        <p:txBody>
          <a:bodyPr anchor="b"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38154153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Three 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7779402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9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047BF4-B721-4A3B-A2A5-456CE967FFD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871898" y="1883523"/>
            <a:ext cx="3101538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7870967" y="1371242"/>
            <a:ext cx="3210582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457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IN CAPITALS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1" hasCustomPrompt="1"/>
          </p:nvPr>
        </p:nvSpPr>
        <p:spPr>
          <a:xfrm>
            <a:off x="326293" y="736963"/>
            <a:ext cx="10633846" cy="360000"/>
          </a:xfrm>
        </p:spPr>
        <p:txBody>
          <a:bodyPr anchor="ctr"/>
          <a:lstStyle>
            <a:lvl1pPr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i="1">
                <a:solidFill>
                  <a:schemeClr val="accent1"/>
                </a:solidFill>
              </a:defRPr>
            </a:lvl2pPr>
            <a:lvl3pPr>
              <a:defRPr i="1">
                <a:solidFill>
                  <a:schemeClr val="accent1"/>
                </a:solidFill>
              </a:defRPr>
            </a:lvl3pPr>
            <a:lvl4pPr>
              <a:defRPr i="1">
                <a:solidFill>
                  <a:schemeClr val="accent1"/>
                </a:solidFill>
              </a:defRPr>
            </a:lvl4pPr>
            <a:lvl5pPr>
              <a:defRPr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AREA FOR GRAPH TITEL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7388" y="0"/>
            <a:ext cx="10633846" cy="692696"/>
          </a:xfrm>
        </p:spPr>
        <p:txBody>
          <a:bodyPr/>
          <a:lstStyle/>
          <a:p>
            <a:r>
              <a:rPr lang="en-GB" noProof="0" dirty="0"/>
              <a:t>Meaningful, summary title with a max of 14 words</a:t>
            </a:r>
            <a:endParaRPr lang="nl-NL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95062" y="1883523"/>
            <a:ext cx="3101538" cy="2137112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688278" y="1883523"/>
            <a:ext cx="3101538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495215" y="1371242"/>
            <a:ext cx="3179766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457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IN CAPITAL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687347" y="1371242"/>
            <a:ext cx="3184550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457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IN CAPITALS</a:t>
            </a:r>
          </a:p>
        </p:txBody>
      </p:sp>
      <p:sp>
        <p:nvSpPr>
          <p:cNvPr id="13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  <p:sp>
        <p:nvSpPr>
          <p:cNvPr id="14" name="Tijdelijke aanduiding voor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9119115" y="6636274"/>
            <a:ext cx="2928815" cy="231775"/>
          </a:xfrm>
        </p:spPr>
        <p:txBody>
          <a:bodyPr anchor="b"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365859"/>
            <a:ext cx="1495062" cy="434457"/>
          </a:xfrm>
          <a:noFill/>
          <a:ln>
            <a:noFill/>
          </a:ln>
        </p:spPr>
        <p:txBody>
          <a:bodyPr anchor="ctr"/>
          <a:lstStyle>
            <a:lvl1pPr marL="0" indent="0" algn="r">
              <a:buNone/>
              <a:defRPr sz="1200" b="0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HASE</a:t>
            </a:r>
          </a:p>
        </p:txBody>
      </p:sp>
      <p:sp>
        <p:nvSpPr>
          <p:cNvPr id="35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905" y="1822518"/>
            <a:ext cx="1495062" cy="434457"/>
          </a:xfrm>
          <a:noFill/>
          <a:ln>
            <a:noFill/>
          </a:ln>
        </p:spPr>
        <p:txBody>
          <a:bodyPr anchor="ctr"/>
          <a:lstStyle>
            <a:lvl1pPr marL="0" indent="0" algn="r">
              <a:buNone/>
              <a:defRPr sz="1200" b="0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ELIVERABLES</a:t>
            </a:r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8905" y="4009900"/>
            <a:ext cx="1495062" cy="434457"/>
          </a:xfrm>
          <a:noFill/>
          <a:ln>
            <a:noFill/>
          </a:ln>
        </p:spPr>
        <p:txBody>
          <a:bodyPr anchor="ctr"/>
          <a:lstStyle>
            <a:lvl1pPr marL="0" indent="0" algn="r">
              <a:buNone/>
              <a:defRPr sz="1200" b="0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ACTIVITIES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7871898" y="4074668"/>
            <a:ext cx="3101538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1495062" y="4074668"/>
            <a:ext cx="3101538" cy="2137112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4688278" y="4074668"/>
            <a:ext cx="3101538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388939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Four 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928037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0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05031C8-4DA6-42D0-926D-B69A1C54A6A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207798" y="1884817"/>
            <a:ext cx="2269207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6206867" y="1371242"/>
            <a:ext cx="2348988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72000" tIns="36000" rIns="72000" bIns="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IN CAPITALS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1" hasCustomPrompt="1"/>
          </p:nvPr>
        </p:nvSpPr>
        <p:spPr>
          <a:xfrm>
            <a:off x="326293" y="736963"/>
            <a:ext cx="10633846" cy="360000"/>
          </a:xfrm>
        </p:spPr>
        <p:txBody>
          <a:bodyPr anchor="ctr"/>
          <a:lstStyle>
            <a:lvl1pPr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i="1">
                <a:solidFill>
                  <a:schemeClr val="accent1"/>
                </a:solidFill>
              </a:defRPr>
            </a:lvl2pPr>
            <a:lvl3pPr>
              <a:defRPr i="1">
                <a:solidFill>
                  <a:schemeClr val="accent1"/>
                </a:solidFill>
              </a:defRPr>
            </a:lvl3pPr>
            <a:lvl4pPr>
              <a:defRPr i="1">
                <a:solidFill>
                  <a:schemeClr val="accent1"/>
                </a:solidFill>
              </a:defRPr>
            </a:lvl4pPr>
            <a:lvl5pPr>
              <a:defRPr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AREA FOR GRAPH TITEL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7388" y="0"/>
            <a:ext cx="10633846" cy="692696"/>
          </a:xfrm>
        </p:spPr>
        <p:txBody>
          <a:bodyPr/>
          <a:lstStyle/>
          <a:p>
            <a:r>
              <a:rPr lang="en-GB" noProof="0" dirty="0"/>
              <a:t>Meaningful, summary title with a max of 14 words</a:t>
            </a:r>
            <a:endParaRPr lang="nl-NL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95063" y="1883523"/>
            <a:ext cx="2269207" cy="2137112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847501" y="1884817"/>
            <a:ext cx="2269207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495215" y="1371242"/>
            <a:ext cx="2326442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72000" tIns="36000" rIns="72000" bIns="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IN CAPITAL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846570" y="1371242"/>
            <a:ext cx="2329942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72000" tIns="36000" rIns="72000" bIns="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IN CAPITALS</a:t>
            </a:r>
          </a:p>
        </p:txBody>
      </p:sp>
      <p:sp>
        <p:nvSpPr>
          <p:cNvPr id="13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  <p:sp>
        <p:nvSpPr>
          <p:cNvPr id="14" name="Tijdelijke aanduiding voor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9119115" y="6636274"/>
            <a:ext cx="2928815" cy="231775"/>
          </a:xfrm>
        </p:spPr>
        <p:txBody>
          <a:bodyPr anchor="b"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365859"/>
            <a:ext cx="1495062" cy="434457"/>
          </a:xfrm>
          <a:noFill/>
          <a:ln>
            <a:noFill/>
          </a:ln>
        </p:spPr>
        <p:txBody>
          <a:bodyPr anchor="ctr"/>
          <a:lstStyle>
            <a:lvl1pPr marL="0" indent="0" algn="r">
              <a:buNone/>
              <a:defRPr sz="1200" b="0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HASE</a:t>
            </a:r>
          </a:p>
        </p:txBody>
      </p:sp>
      <p:sp>
        <p:nvSpPr>
          <p:cNvPr id="35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905" y="1822518"/>
            <a:ext cx="1495062" cy="434457"/>
          </a:xfrm>
          <a:noFill/>
          <a:ln>
            <a:noFill/>
          </a:ln>
        </p:spPr>
        <p:txBody>
          <a:bodyPr anchor="ctr"/>
          <a:lstStyle>
            <a:lvl1pPr marL="0" indent="0" algn="r">
              <a:buNone/>
              <a:defRPr sz="1200" b="0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ELIVERABLES</a:t>
            </a:r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8905" y="4009900"/>
            <a:ext cx="1495062" cy="434457"/>
          </a:xfrm>
          <a:noFill/>
          <a:ln>
            <a:noFill/>
          </a:ln>
        </p:spPr>
        <p:txBody>
          <a:bodyPr anchor="ctr"/>
          <a:lstStyle>
            <a:lvl1pPr marL="0" indent="0" algn="r">
              <a:buNone/>
              <a:defRPr sz="1200" b="0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ACTIVITIES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6207798" y="4075962"/>
            <a:ext cx="2269207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1495063" y="4074668"/>
            <a:ext cx="2269207" cy="2137112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3847501" y="4075962"/>
            <a:ext cx="2269207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8554302" y="1884817"/>
            <a:ext cx="2269207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8553372" y="1371242"/>
            <a:ext cx="2348988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72000" tIns="36000" rIns="72000" bIns="0" anchor="ctr"/>
          <a:lstStyle>
            <a:lvl1pPr marL="0" indent="0" algn="ctr">
              <a:lnSpc>
                <a:spcPts val="1600"/>
              </a:lnSpc>
              <a:spcBef>
                <a:spcPts val="0"/>
              </a:spcBef>
              <a:buNone/>
              <a:defRPr sz="16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ITLE BOX IN CAPITAL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8554302" y="4075962"/>
            <a:ext cx="2269207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870396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Five 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4688865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3C78361-1697-44B0-873E-37F989F60DE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237793" y="1884817"/>
            <a:ext cx="1788753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 sz="1050"/>
            </a:lvl1pPr>
            <a:lvl2pPr>
              <a:buClr>
                <a:schemeClr val="tx2"/>
              </a:buClr>
              <a:defRPr sz="1050"/>
            </a:lvl2pPr>
            <a:lvl3pPr>
              <a:buClr>
                <a:schemeClr val="tx2"/>
              </a:buClr>
              <a:defRPr sz="1050"/>
            </a:lvl3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5236862" y="1371242"/>
            <a:ext cx="1851643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457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3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1" hasCustomPrompt="1"/>
          </p:nvPr>
        </p:nvSpPr>
        <p:spPr>
          <a:xfrm>
            <a:off x="326293" y="736963"/>
            <a:ext cx="10633846" cy="360000"/>
          </a:xfrm>
        </p:spPr>
        <p:txBody>
          <a:bodyPr anchor="ctr"/>
          <a:lstStyle>
            <a:lvl1pPr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i="1">
                <a:solidFill>
                  <a:schemeClr val="accent1"/>
                </a:solidFill>
              </a:defRPr>
            </a:lvl2pPr>
            <a:lvl3pPr>
              <a:defRPr i="1">
                <a:solidFill>
                  <a:schemeClr val="accent1"/>
                </a:solidFill>
              </a:defRPr>
            </a:lvl3pPr>
            <a:lvl4pPr>
              <a:defRPr i="1">
                <a:solidFill>
                  <a:schemeClr val="accent1"/>
                </a:solidFill>
              </a:defRPr>
            </a:lvl4pPr>
            <a:lvl5pPr>
              <a:defRPr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AREA FOR GRAPH TITEL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7388" y="0"/>
            <a:ext cx="10633846" cy="692696"/>
          </a:xfrm>
        </p:spPr>
        <p:txBody>
          <a:bodyPr/>
          <a:lstStyle/>
          <a:p>
            <a:r>
              <a:rPr lang="en-GB" noProof="0" dirty="0"/>
              <a:t>Meaningful, summary title with a max of 14 word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95064" y="1883523"/>
            <a:ext cx="1788753" cy="2137112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 sz="1050"/>
            </a:lvl1pPr>
            <a:lvl2pPr>
              <a:buClr>
                <a:schemeClr val="tx2"/>
              </a:buClr>
              <a:defRPr sz="1050"/>
            </a:lvl2pPr>
            <a:lvl3pPr>
              <a:buClr>
                <a:schemeClr val="tx2"/>
              </a:buClr>
              <a:defRPr sz="1050"/>
            </a:lvl3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374113" y="1884817"/>
            <a:ext cx="1788753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 sz="1050"/>
            </a:lvl1pPr>
            <a:lvl2pPr>
              <a:buClr>
                <a:schemeClr val="tx2"/>
              </a:buClr>
              <a:defRPr sz="1050"/>
            </a:lvl2pPr>
            <a:lvl3pPr>
              <a:buClr>
                <a:schemeClr val="tx2"/>
              </a:buClr>
              <a:defRPr sz="1050"/>
            </a:lvl3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495215" y="1371242"/>
            <a:ext cx="1833871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457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1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373181" y="1371242"/>
            <a:ext cx="1836629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457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2</a:t>
            </a:r>
          </a:p>
        </p:txBody>
      </p:sp>
      <p:sp>
        <p:nvSpPr>
          <p:cNvPr id="13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  <p:sp>
        <p:nvSpPr>
          <p:cNvPr id="14" name="Tijdelijke aanduiding voor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9119115" y="6636274"/>
            <a:ext cx="2928815" cy="231775"/>
          </a:xfrm>
        </p:spPr>
        <p:txBody>
          <a:bodyPr anchor="b"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365859"/>
            <a:ext cx="1495062" cy="434457"/>
          </a:xfrm>
          <a:noFill/>
          <a:ln>
            <a:noFill/>
          </a:ln>
        </p:spPr>
        <p:txBody>
          <a:bodyPr anchor="ctr"/>
          <a:lstStyle>
            <a:lvl1pPr marL="0" indent="0" algn="r">
              <a:buNone/>
              <a:defRPr sz="1200" b="0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PHASE</a:t>
            </a:r>
          </a:p>
        </p:txBody>
      </p:sp>
      <p:sp>
        <p:nvSpPr>
          <p:cNvPr id="35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905" y="1822518"/>
            <a:ext cx="1495062" cy="434457"/>
          </a:xfrm>
          <a:noFill/>
          <a:ln>
            <a:noFill/>
          </a:ln>
        </p:spPr>
        <p:txBody>
          <a:bodyPr anchor="ctr"/>
          <a:lstStyle>
            <a:lvl1pPr marL="0" indent="0" algn="r">
              <a:buNone/>
              <a:defRPr sz="1200" b="0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DELIVERABLES</a:t>
            </a:r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8905" y="4009900"/>
            <a:ext cx="1495062" cy="434457"/>
          </a:xfrm>
          <a:noFill/>
          <a:ln>
            <a:noFill/>
          </a:ln>
        </p:spPr>
        <p:txBody>
          <a:bodyPr anchor="ctr"/>
          <a:lstStyle>
            <a:lvl1pPr marL="0" indent="0" algn="r">
              <a:buNone/>
              <a:defRPr sz="1200" b="0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ACTIVITIES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5237793" y="4075962"/>
            <a:ext cx="1788753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 sz="1050"/>
            </a:lvl1pPr>
            <a:lvl2pPr>
              <a:buClr>
                <a:schemeClr val="tx2"/>
              </a:buClr>
              <a:defRPr sz="1050"/>
            </a:lvl2pPr>
            <a:lvl3pPr>
              <a:buClr>
                <a:schemeClr val="tx2"/>
              </a:buClr>
              <a:defRPr sz="1050"/>
            </a:lvl3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1495064" y="4074668"/>
            <a:ext cx="1788753" cy="2137112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 sz="1050"/>
            </a:lvl1pPr>
            <a:lvl2pPr>
              <a:buClr>
                <a:schemeClr val="tx2"/>
              </a:buClr>
              <a:defRPr sz="1050"/>
            </a:lvl2pPr>
            <a:lvl3pPr>
              <a:buClr>
                <a:schemeClr val="tx2"/>
              </a:buClr>
              <a:defRPr sz="1050"/>
            </a:lvl3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3374113" y="4075962"/>
            <a:ext cx="1788753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 sz="1050"/>
            </a:lvl1pPr>
            <a:lvl2pPr>
              <a:buClr>
                <a:schemeClr val="tx2"/>
              </a:buClr>
              <a:defRPr sz="1050"/>
            </a:lvl2pPr>
            <a:lvl3pPr>
              <a:buClr>
                <a:schemeClr val="tx2"/>
              </a:buClr>
              <a:defRPr sz="1050"/>
            </a:lvl3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106216" y="1884817"/>
            <a:ext cx="1788753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 sz="1050"/>
            </a:lvl1pPr>
            <a:lvl2pPr>
              <a:buClr>
                <a:schemeClr val="tx2"/>
              </a:buClr>
              <a:defRPr sz="1050"/>
            </a:lvl2pPr>
            <a:lvl3pPr>
              <a:buClr>
                <a:schemeClr val="tx2"/>
              </a:buClr>
              <a:defRPr sz="1050"/>
            </a:lvl3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7105284" y="1371242"/>
            <a:ext cx="1851643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457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4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7106216" y="4075962"/>
            <a:ext cx="1788753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 sz="1050"/>
            </a:lvl1pPr>
            <a:lvl2pPr>
              <a:buClr>
                <a:schemeClr val="tx2"/>
              </a:buClr>
              <a:defRPr sz="1050"/>
            </a:lvl2pPr>
            <a:lvl3pPr>
              <a:buClr>
                <a:schemeClr val="tx2"/>
              </a:buClr>
              <a:defRPr sz="1050"/>
            </a:lvl3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8984691" y="1884817"/>
            <a:ext cx="1788753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 sz="1050"/>
            </a:lvl1pPr>
            <a:lvl2pPr>
              <a:buClr>
                <a:schemeClr val="tx2"/>
              </a:buClr>
              <a:defRPr sz="1050"/>
            </a:lvl2pPr>
            <a:lvl3pPr>
              <a:buClr>
                <a:schemeClr val="tx2"/>
              </a:buClr>
              <a:defRPr sz="1050"/>
            </a:lvl3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8983759" y="1371242"/>
            <a:ext cx="1851643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457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5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8984691" y="4075962"/>
            <a:ext cx="1788753" cy="2135819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 sz="1050"/>
            </a:lvl1pPr>
            <a:lvl2pPr>
              <a:buClr>
                <a:schemeClr val="tx2"/>
              </a:buClr>
              <a:defRPr sz="1050"/>
            </a:lvl2pPr>
            <a:lvl3pPr>
              <a:buClr>
                <a:schemeClr val="tx2"/>
              </a:buClr>
              <a:defRPr sz="1050"/>
            </a:lvl3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000526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Work Plan Blow-up 3 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5726991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2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993D79C-CADD-4178-837F-A098F4B306E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1" hasCustomPrompt="1"/>
          </p:nvPr>
        </p:nvSpPr>
        <p:spPr>
          <a:xfrm>
            <a:off x="326293" y="736963"/>
            <a:ext cx="10633846" cy="360000"/>
          </a:xfrm>
        </p:spPr>
        <p:txBody>
          <a:bodyPr anchor="ctr"/>
          <a:lstStyle>
            <a:lvl1pPr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i="1">
                <a:solidFill>
                  <a:schemeClr val="accent1"/>
                </a:solidFill>
              </a:defRPr>
            </a:lvl2pPr>
            <a:lvl3pPr>
              <a:defRPr i="1">
                <a:solidFill>
                  <a:schemeClr val="accent1"/>
                </a:solidFill>
              </a:defRPr>
            </a:lvl3pPr>
            <a:lvl4pPr>
              <a:defRPr i="1">
                <a:solidFill>
                  <a:schemeClr val="accent1"/>
                </a:solidFill>
              </a:defRPr>
            </a:lvl4pPr>
            <a:lvl5pPr>
              <a:defRPr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AREA FOR GRAPH TITEL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7388" y="0"/>
            <a:ext cx="10633846" cy="692696"/>
          </a:xfrm>
        </p:spPr>
        <p:txBody>
          <a:bodyPr/>
          <a:lstStyle/>
          <a:p>
            <a:r>
              <a:rPr lang="en-GB" noProof="0" dirty="0"/>
              <a:t>Meaningful, summary title with a max of 14 word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608290" y="1432051"/>
            <a:ext cx="3292608" cy="434457"/>
          </a:xfrm>
          <a:prstGeom prst="chevron">
            <a:avLst>
              <a:gd name="adj" fmla="val 17620"/>
            </a:avLst>
          </a:prstGeom>
          <a:solidFill>
            <a:schemeClr val="tx2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72000" rIns="91393" bIns="7200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600"/>
              </a:lnSpc>
              <a:defRPr lang="en-GB" sz="1600" b="0" baseline="0" noProof="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2</a:t>
            </a:r>
          </a:p>
        </p:txBody>
      </p:sp>
      <p:sp>
        <p:nvSpPr>
          <p:cNvPr id="13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  <p:sp>
        <p:nvSpPr>
          <p:cNvPr id="14" name="Tijdelijke aanduiding voor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9119115" y="6636274"/>
            <a:ext cx="2928815" cy="231775"/>
          </a:xfrm>
        </p:spPr>
        <p:txBody>
          <a:bodyPr anchor="b"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  <p:sp>
        <p:nvSpPr>
          <p:cNvPr id="71" name="Text Placeholder 10"/>
          <p:cNvSpPr>
            <a:spLocks noGrp="1"/>
          </p:cNvSpPr>
          <p:nvPr>
            <p:ph type="body" sz="quarter" idx="39" hasCustomPrompt="1"/>
          </p:nvPr>
        </p:nvSpPr>
        <p:spPr>
          <a:xfrm>
            <a:off x="3608291" y="1900065"/>
            <a:ext cx="1677366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36000" rIns="36000" anchor="ctr"/>
          <a:lstStyle>
            <a:lvl1pPr marL="0" indent="0" algn="ctr">
              <a:buNone/>
              <a:defRPr sz="12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Sub-phase</a:t>
            </a:r>
          </a:p>
        </p:txBody>
      </p:sp>
      <p:sp>
        <p:nvSpPr>
          <p:cNvPr id="72" name="Text Placeholder 10"/>
          <p:cNvSpPr>
            <a:spLocks noGrp="1"/>
          </p:cNvSpPr>
          <p:nvPr>
            <p:ph type="body" sz="quarter" idx="40" hasCustomPrompt="1"/>
          </p:nvPr>
        </p:nvSpPr>
        <p:spPr>
          <a:xfrm>
            <a:off x="5225203" y="1900065"/>
            <a:ext cx="1677366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36000" rIns="36000" anchor="ctr"/>
          <a:lstStyle>
            <a:lvl1pPr marL="0" indent="0" algn="ctr">
              <a:buNone/>
              <a:defRPr sz="12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Sub-phase</a:t>
            </a:r>
          </a:p>
        </p:txBody>
      </p:sp>
      <p:sp>
        <p:nvSpPr>
          <p:cNvPr id="104" name="Text Placeholder 10"/>
          <p:cNvSpPr>
            <a:spLocks noGrp="1"/>
          </p:cNvSpPr>
          <p:nvPr>
            <p:ph type="body" sz="quarter" idx="45" hasCustomPrompt="1"/>
          </p:nvPr>
        </p:nvSpPr>
        <p:spPr>
          <a:xfrm>
            <a:off x="6847967" y="1432051"/>
            <a:ext cx="3292608" cy="434457"/>
          </a:xfrm>
          <a:prstGeom prst="chevron">
            <a:avLst>
              <a:gd name="adj" fmla="val 17620"/>
            </a:avLst>
          </a:prstGeom>
          <a:solidFill>
            <a:schemeClr val="tx2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72000" rIns="91393" bIns="7200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600"/>
              </a:lnSpc>
              <a:defRPr lang="en-GB" sz="1600" b="0" baseline="0" noProof="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3</a:t>
            </a:r>
          </a:p>
        </p:txBody>
      </p:sp>
      <p:sp>
        <p:nvSpPr>
          <p:cNvPr id="107" name="Text Placeholder 10"/>
          <p:cNvSpPr>
            <a:spLocks noGrp="1"/>
          </p:cNvSpPr>
          <p:nvPr>
            <p:ph type="body" sz="quarter" idx="47" hasCustomPrompt="1"/>
          </p:nvPr>
        </p:nvSpPr>
        <p:spPr>
          <a:xfrm>
            <a:off x="6847967" y="1900065"/>
            <a:ext cx="1677366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36000" rIns="36000" anchor="ctr"/>
          <a:lstStyle>
            <a:lvl1pPr marL="0" indent="0" algn="ctr">
              <a:buNone/>
              <a:defRPr sz="12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Sub-phase</a:t>
            </a:r>
          </a:p>
        </p:txBody>
      </p:sp>
      <p:sp>
        <p:nvSpPr>
          <p:cNvPr id="108" name="Text Placeholder 10"/>
          <p:cNvSpPr>
            <a:spLocks noGrp="1"/>
          </p:cNvSpPr>
          <p:nvPr>
            <p:ph type="body" sz="quarter" idx="48" hasCustomPrompt="1"/>
          </p:nvPr>
        </p:nvSpPr>
        <p:spPr>
          <a:xfrm>
            <a:off x="8464879" y="1900065"/>
            <a:ext cx="1677366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36000" rIns="36000" anchor="ctr"/>
          <a:lstStyle>
            <a:lvl1pPr marL="0" indent="0" algn="ctr">
              <a:buNone/>
              <a:defRPr sz="12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Sub-phase</a:t>
            </a:r>
          </a:p>
        </p:txBody>
      </p:sp>
      <p:sp>
        <p:nvSpPr>
          <p:cNvPr id="15" name="Rechthoek 14"/>
          <p:cNvSpPr/>
          <p:nvPr/>
        </p:nvSpPr>
        <p:spPr bwMode="auto">
          <a:xfrm>
            <a:off x="10031566" y="1407228"/>
            <a:ext cx="320292" cy="98567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9" name="Text Placeholder 10"/>
          <p:cNvSpPr>
            <a:spLocks noGrp="1"/>
          </p:cNvSpPr>
          <p:nvPr>
            <p:ph type="body" sz="quarter" idx="49" hasCustomPrompt="1"/>
          </p:nvPr>
        </p:nvSpPr>
        <p:spPr>
          <a:xfrm>
            <a:off x="6528911" y="1142523"/>
            <a:ext cx="620308" cy="504000"/>
          </a:xfrm>
          <a:prstGeom prst="ellipse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0" tIns="0" rIns="0" bIns="0" anchor="ctr"/>
          <a:lstStyle>
            <a:lvl1pPr marL="0" indent="0" algn="ctr">
              <a:buNone/>
              <a:defRPr sz="1000" b="1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Go/</a:t>
            </a:r>
            <a:br>
              <a:rPr lang="en-GB" noProof="0" dirty="0"/>
            </a:br>
            <a:r>
              <a:rPr lang="en-GB" noProof="0" dirty="0"/>
              <a:t>no go</a:t>
            </a:r>
          </a:p>
        </p:txBody>
      </p:sp>
      <p:cxnSp>
        <p:nvCxnSpPr>
          <p:cNvPr id="63" name="Rechte verbindingslijn met pijl 62"/>
          <p:cNvCxnSpPr/>
          <p:nvPr/>
        </p:nvCxnSpPr>
        <p:spPr bwMode="auto">
          <a:xfrm>
            <a:off x="3620369" y="1327499"/>
            <a:ext cx="2908542" cy="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64" name="Tijdelijke aanduiding voor tekst 3"/>
          <p:cNvSpPr>
            <a:spLocks noGrp="1"/>
          </p:cNvSpPr>
          <p:nvPr>
            <p:ph type="body" sz="quarter" idx="34" hasCustomPrompt="1"/>
          </p:nvPr>
        </p:nvSpPr>
        <p:spPr>
          <a:xfrm>
            <a:off x="4458124" y="1188999"/>
            <a:ext cx="1553118" cy="22762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/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Xx weeks</a:t>
            </a:r>
          </a:p>
        </p:txBody>
      </p:sp>
      <p:cxnSp>
        <p:nvCxnSpPr>
          <p:cNvPr id="105" name="Rechte verbindingslijn met pijl 104"/>
          <p:cNvCxnSpPr/>
          <p:nvPr/>
        </p:nvCxnSpPr>
        <p:spPr bwMode="auto">
          <a:xfrm>
            <a:off x="7149218" y="1327435"/>
            <a:ext cx="2938425" cy="64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6" name="Tijdelijke aanduiding voor tekst 3"/>
          <p:cNvSpPr>
            <a:spLocks noGrp="1"/>
          </p:cNvSpPr>
          <p:nvPr>
            <p:ph type="body" sz="quarter" idx="46" hasCustomPrompt="1"/>
          </p:nvPr>
        </p:nvSpPr>
        <p:spPr>
          <a:xfrm>
            <a:off x="7697800" y="1188999"/>
            <a:ext cx="1553118" cy="22762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/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Xx weeks</a:t>
            </a:r>
          </a:p>
        </p:txBody>
      </p:sp>
      <p:sp>
        <p:nvSpPr>
          <p:cNvPr id="113" name="Rechthoek 112"/>
          <p:cNvSpPr/>
          <p:nvPr>
            <p:custDataLst>
              <p:tags r:id="rId4"/>
            </p:custDataLst>
          </p:nvPr>
        </p:nvSpPr>
        <p:spPr>
          <a:xfrm>
            <a:off x="195385" y="1104525"/>
            <a:ext cx="11713301" cy="1393200"/>
          </a:xfrm>
          <a:prstGeom prst="rect">
            <a:avLst/>
          </a:prstGeom>
          <a:solidFill>
            <a:srgbClr val="FFFFFF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noProof="0" dirty="0"/>
          </a:p>
        </p:txBody>
      </p:sp>
      <p:sp>
        <p:nvSpPr>
          <p:cNvPr id="112" name="Vrije vorm 111"/>
          <p:cNvSpPr/>
          <p:nvPr/>
        </p:nvSpPr>
        <p:spPr bwMode="auto">
          <a:xfrm>
            <a:off x="358647" y="2331181"/>
            <a:ext cx="9646418" cy="390627"/>
          </a:xfrm>
          <a:custGeom>
            <a:avLst/>
            <a:gdLst>
              <a:gd name="connsiteX0" fmla="*/ 0 w 7837714"/>
              <a:gd name="connsiteY0" fmla="*/ 10048 h 391885"/>
              <a:gd name="connsiteX1" fmla="*/ 2602523 w 7837714"/>
              <a:gd name="connsiteY1" fmla="*/ 0 h 391885"/>
              <a:gd name="connsiteX2" fmla="*/ 7837714 w 7837714"/>
              <a:gd name="connsiteY2" fmla="*/ 361740 h 391885"/>
              <a:gd name="connsiteX3" fmla="*/ 0 w 7837714"/>
              <a:gd name="connsiteY3" fmla="*/ 391885 h 391885"/>
              <a:gd name="connsiteX4" fmla="*/ 0 w 7837714"/>
              <a:gd name="connsiteY4" fmla="*/ 10048 h 391885"/>
              <a:gd name="connsiteX0" fmla="*/ 0 w 7837714"/>
              <a:gd name="connsiteY0" fmla="*/ 10048 h 391993"/>
              <a:gd name="connsiteX1" fmla="*/ 2602523 w 7837714"/>
              <a:gd name="connsiteY1" fmla="*/ 0 h 391993"/>
              <a:gd name="connsiteX2" fmla="*/ 7837714 w 7837714"/>
              <a:gd name="connsiteY2" fmla="*/ 391993 h 391993"/>
              <a:gd name="connsiteX3" fmla="*/ 0 w 7837714"/>
              <a:gd name="connsiteY3" fmla="*/ 391885 h 391993"/>
              <a:gd name="connsiteX4" fmla="*/ 0 w 7837714"/>
              <a:gd name="connsiteY4" fmla="*/ 10048 h 391993"/>
              <a:gd name="connsiteX0" fmla="*/ 10048 w 7837714"/>
              <a:gd name="connsiteY0" fmla="*/ 20132 h 391993"/>
              <a:gd name="connsiteX1" fmla="*/ 2602523 w 7837714"/>
              <a:gd name="connsiteY1" fmla="*/ 0 h 391993"/>
              <a:gd name="connsiteX2" fmla="*/ 7837714 w 7837714"/>
              <a:gd name="connsiteY2" fmla="*/ 391993 h 391993"/>
              <a:gd name="connsiteX3" fmla="*/ 0 w 7837714"/>
              <a:gd name="connsiteY3" fmla="*/ 391885 h 391993"/>
              <a:gd name="connsiteX4" fmla="*/ 10048 w 7837714"/>
              <a:gd name="connsiteY4" fmla="*/ 20132 h 391993"/>
              <a:gd name="connsiteX0" fmla="*/ 0 w 7837715"/>
              <a:gd name="connsiteY0" fmla="*/ 0 h 392029"/>
              <a:gd name="connsiteX1" fmla="*/ 2602524 w 7837715"/>
              <a:gd name="connsiteY1" fmla="*/ 36 h 392029"/>
              <a:gd name="connsiteX2" fmla="*/ 7837715 w 7837715"/>
              <a:gd name="connsiteY2" fmla="*/ 392029 h 392029"/>
              <a:gd name="connsiteX3" fmla="*/ 1 w 7837715"/>
              <a:gd name="connsiteY3" fmla="*/ 391921 h 392029"/>
              <a:gd name="connsiteX4" fmla="*/ 0 w 7837715"/>
              <a:gd name="connsiteY4" fmla="*/ 0 h 392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37715" h="392029">
                <a:moveTo>
                  <a:pt x="0" y="0"/>
                </a:moveTo>
                <a:lnTo>
                  <a:pt x="2602524" y="36"/>
                </a:lnTo>
                <a:lnTo>
                  <a:pt x="7837715" y="392029"/>
                </a:lnTo>
                <a:lnTo>
                  <a:pt x="1" y="391921"/>
                </a:lnTo>
                <a:cubicBezTo>
                  <a:pt x="1" y="261281"/>
                  <a:pt x="0" y="130640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62361" y="1432051"/>
            <a:ext cx="3292608" cy="434457"/>
          </a:xfrm>
          <a:prstGeom prst="chevron">
            <a:avLst>
              <a:gd name="adj" fmla="val 17620"/>
            </a:avLst>
          </a:prstGeom>
          <a:solidFill>
            <a:schemeClr val="tx2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72000" rIns="91393" bIns="7200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600"/>
              </a:lnSpc>
              <a:defRPr lang="en-GB" sz="1600" b="0" baseline="0" noProof="0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1</a:t>
            </a:r>
          </a:p>
        </p:txBody>
      </p:sp>
      <p:graphicFrame>
        <p:nvGraphicFramePr>
          <p:cNvPr id="51" name="Tabel 50"/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33617653"/>
              </p:ext>
            </p:extLst>
          </p:nvPr>
        </p:nvGraphicFramePr>
        <p:xfrm>
          <a:off x="371114" y="2721700"/>
          <a:ext cx="9660453" cy="336405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8513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09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4111">
                <a:tc>
                  <a:txBody>
                    <a:bodyPr/>
                    <a:lstStyle/>
                    <a:p>
                      <a:pPr marL="0" algn="l" defTabSz="456973" rtl="0" eaLnBrk="1" latinLnBrk="0" hangingPunct="1"/>
                      <a:r>
                        <a:rPr lang="en-GB" sz="1400" b="0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DELIVERABLES</a:t>
                      </a:r>
                    </a:p>
                  </a:txBody>
                  <a:tcPr marL="120000" marR="120000" marT="0" marB="0" anchor="ctr"/>
                </a:tc>
                <a:tc>
                  <a:txBody>
                    <a:bodyPr/>
                    <a:lstStyle/>
                    <a:p>
                      <a:pPr marL="0" algn="l" defTabSz="456973" rtl="0" eaLnBrk="1" latinLnBrk="0" hangingPunct="1"/>
                      <a:r>
                        <a:rPr lang="en-GB" sz="1400" b="0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ACTIVITIES</a:t>
                      </a:r>
                    </a:p>
                  </a:txBody>
                  <a:tcPr marL="120000" marR="12000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1988"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</a:txBody>
                  <a:tcPr marL="120000" marR="120000" marT="0" marB="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  <a:endParaRPr lang="en-GB" sz="12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0000" marR="120000" marT="0" marB="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1988"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</a:txBody>
                  <a:tcPr marL="120000" marR="120000" marT="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  <a:endParaRPr lang="en-GB" sz="12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0000" marR="120000" marT="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1988"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</a:txBody>
                  <a:tcPr marL="120000" marR="120000" marT="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  <a:endParaRPr lang="en-GB" sz="12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0000" marR="120000" marT="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1988"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</a:txBody>
                  <a:tcPr marL="120000" marR="120000" marT="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  <a:endParaRPr lang="en-GB" sz="12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0000" marR="120000" marT="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01988"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</a:txBody>
                  <a:tcPr marL="120000" marR="120000" marT="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  <a:endParaRPr lang="en-GB" sz="12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0000" marR="120000" marT="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9" name="Text Placeholder 10"/>
          <p:cNvSpPr>
            <a:spLocks noGrp="1"/>
          </p:cNvSpPr>
          <p:nvPr>
            <p:ph type="body" sz="quarter" idx="37" hasCustomPrompt="1"/>
          </p:nvPr>
        </p:nvSpPr>
        <p:spPr>
          <a:xfrm>
            <a:off x="362361" y="1900065"/>
            <a:ext cx="1595077" cy="434457"/>
          </a:xfrm>
          <a:prstGeom prst="homePlate">
            <a:avLst>
              <a:gd name="adj" fmla="val 19933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36000" rIns="36000" anchor="ctr"/>
          <a:lstStyle>
            <a:lvl1pPr marL="0" indent="0" algn="ctr">
              <a:buNone/>
              <a:defRPr sz="12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Sub-phase</a:t>
            </a:r>
          </a:p>
        </p:txBody>
      </p:sp>
      <p:sp>
        <p:nvSpPr>
          <p:cNvPr id="70" name="Text Placeholder 10"/>
          <p:cNvSpPr>
            <a:spLocks noGrp="1"/>
          </p:cNvSpPr>
          <p:nvPr>
            <p:ph type="body" sz="quarter" idx="38" hasCustomPrompt="1"/>
          </p:nvPr>
        </p:nvSpPr>
        <p:spPr>
          <a:xfrm>
            <a:off x="1910466" y="1900065"/>
            <a:ext cx="1746208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36000" rIns="36000" anchor="ctr"/>
          <a:lstStyle>
            <a:lvl1pPr marL="0" indent="0" algn="ctr">
              <a:buNone/>
              <a:defRPr sz="12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Sub-phase</a:t>
            </a:r>
          </a:p>
        </p:txBody>
      </p:sp>
      <p:cxnSp>
        <p:nvCxnSpPr>
          <p:cNvPr id="7" name="Rechte verbindingslijn met pijl 6"/>
          <p:cNvCxnSpPr/>
          <p:nvPr/>
        </p:nvCxnSpPr>
        <p:spPr bwMode="auto">
          <a:xfrm>
            <a:off x="337475" y="1327435"/>
            <a:ext cx="3227598" cy="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4" name="Tijdelijke aanduiding voor tekst 3"/>
          <p:cNvSpPr>
            <a:spLocks noGrp="1"/>
          </p:cNvSpPr>
          <p:nvPr>
            <p:ph type="body" sz="quarter" idx="32" hasCustomPrompt="1"/>
          </p:nvPr>
        </p:nvSpPr>
        <p:spPr>
          <a:xfrm>
            <a:off x="1179196" y="1188935"/>
            <a:ext cx="1553118" cy="22762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/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Xx weeks</a:t>
            </a:r>
          </a:p>
        </p:txBody>
      </p:sp>
    </p:spTree>
    <p:extLst>
      <p:ext uri="{BB962C8B-B14F-4D97-AF65-F5344CB8AC3E}">
        <p14:creationId xmlns:p14="http://schemas.microsoft.com/office/powerpoint/2010/main" val="35539376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Work Plan Blow-up 4 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7069827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1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B383BF-D5B1-49AF-901F-5E0DDE3D116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Rechthoek 14"/>
          <p:cNvSpPr/>
          <p:nvPr/>
        </p:nvSpPr>
        <p:spPr bwMode="auto">
          <a:xfrm>
            <a:off x="10019199" y="1407228"/>
            <a:ext cx="268613" cy="98567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50" hasCustomPrompt="1"/>
          </p:nvPr>
        </p:nvSpPr>
        <p:spPr>
          <a:xfrm>
            <a:off x="8454128" y="1432051"/>
            <a:ext cx="2761348" cy="434457"/>
          </a:xfrm>
          <a:prstGeom prst="chevron">
            <a:avLst>
              <a:gd name="adj" fmla="val 17620"/>
            </a:avLst>
          </a:prstGeom>
          <a:solidFill>
            <a:schemeClr val="tx2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16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ITLE BOX 4</a:t>
            </a:r>
          </a:p>
        </p:txBody>
      </p:sp>
      <p:sp>
        <p:nvSpPr>
          <p:cNvPr id="37" name="Text Placeholder 10"/>
          <p:cNvSpPr>
            <a:spLocks noGrp="1"/>
          </p:cNvSpPr>
          <p:nvPr>
            <p:ph type="body" sz="quarter" idx="51" hasCustomPrompt="1"/>
          </p:nvPr>
        </p:nvSpPr>
        <p:spPr>
          <a:xfrm>
            <a:off x="8438863" y="1900065"/>
            <a:ext cx="1406725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36000" rIns="36000" anchor="ctr"/>
          <a:lstStyle>
            <a:lvl1pPr marL="0" indent="0" algn="ctr">
              <a:buNone/>
              <a:defRPr sz="12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Sub-phase</a:t>
            </a:r>
          </a:p>
        </p:txBody>
      </p:sp>
      <p:sp>
        <p:nvSpPr>
          <p:cNvPr id="38" name="Text Placeholder 10"/>
          <p:cNvSpPr>
            <a:spLocks noGrp="1"/>
          </p:cNvSpPr>
          <p:nvPr>
            <p:ph type="body" sz="quarter" idx="52" hasCustomPrompt="1"/>
          </p:nvPr>
        </p:nvSpPr>
        <p:spPr>
          <a:xfrm>
            <a:off x="9786606" y="1900065"/>
            <a:ext cx="1406725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36000" rIns="36000" anchor="ctr"/>
          <a:lstStyle>
            <a:lvl1pPr marL="0" indent="0" algn="ctr">
              <a:buNone/>
              <a:defRPr sz="12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Sub-phase</a:t>
            </a:r>
          </a:p>
        </p:txBody>
      </p:sp>
      <p:sp>
        <p:nvSpPr>
          <p:cNvPr id="39" name="Rechthoek 38"/>
          <p:cNvSpPr/>
          <p:nvPr/>
        </p:nvSpPr>
        <p:spPr bwMode="auto">
          <a:xfrm>
            <a:off x="11085386" y="1407228"/>
            <a:ext cx="268613" cy="98567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0" name="Rechte verbindingslijn met pijl 39"/>
          <p:cNvCxnSpPr/>
          <p:nvPr/>
        </p:nvCxnSpPr>
        <p:spPr bwMode="auto">
          <a:xfrm>
            <a:off x="8569878" y="1327436"/>
            <a:ext cx="2464313" cy="229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41" name="Tijdelijke aanduiding voor tekst 3"/>
          <p:cNvSpPr>
            <a:spLocks noGrp="1"/>
          </p:cNvSpPr>
          <p:nvPr>
            <p:ph type="body" sz="quarter" idx="53" hasCustomPrompt="1"/>
          </p:nvPr>
        </p:nvSpPr>
        <p:spPr>
          <a:xfrm>
            <a:off x="9303962" y="1188999"/>
            <a:ext cx="1302523" cy="22762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/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Xx weeks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1" hasCustomPrompt="1"/>
          </p:nvPr>
        </p:nvSpPr>
        <p:spPr>
          <a:xfrm>
            <a:off x="326293" y="736963"/>
            <a:ext cx="10633846" cy="360000"/>
          </a:xfrm>
        </p:spPr>
        <p:txBody>
          <a:bodyPr anchor="ctr"/>
          <a:lstStyle>
            <a:lvl1pPr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i="1">
                <a:solidFill>
                  <a:schemeClr val="accent1"/>
                </a:solidFill>
              </a:defRPr>
            </a:lvl2pPr>
            <a:lvl3pPr>
              <a:defRPr i="1">
                <a:solidFill>
                  <a:schemeClr val="accent1"/>
                </a:solidFill>
              </a:defRPr>
            </a:lvl3pPr>
            <a:lvl4pPr>
              <a:defRPr i="1">
                <a:solidFill>
                  <a:schemeClr val="accent1"/>
                </a:solidFill>
              </a:defRPr>
            </a:lvl4pPr>
            <a:lvl5pPr>
              <a:defRPr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 dirty="0"/>
              <a:t>AREA FOR GRAPH TITEL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7388" y="0"/>
            <a:ext cx="10633846" cy="692696"/>
          </a:xfrm>
        </p:spPr>
        <p:txBody>
          <a:bodyPr/>
          <a:lstStyle/>
          <a:p>
            <a:r>
              <a:rPr lang="en-GB" noProof="0" dirty="0"/>
              <a:t>Meaningful, summary title with a max of 14 word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064153" y="1432051"/>
            <a:ext cx="2761348" cy="434457"/>
          </a:xfrm>
          <a:prstGeom prst="chevron">
            <a:avLst>
              <a:gd name="adj" fmla="val 17620"/>
            </a:avLst>
          </a:prstGeom>
          <a:solidFill>
            <a:schemeClr val="tx2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16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ITLE BOX 2</a:t>
            </a:r>
          </a:p>
        </p:txBody>
      </p:sp>
      <p:sp>
        <p:nvSpPr>
          <p:cNvPr id="13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  <p:sp>
        <p:nvSpPr>
          <p:cNvPr id="14" name="Tijdelijke aanduiding voor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9119115" y="6636274"/>
            <a:ext cx="2928815" cy="231775"/>
          </a:xfrm>
        </p:spPr>
        <p:txBody>
          <a:bodyPr anchor="b"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  <p:sp>
        <p:nvSpPr>
          <p:cNvPr id="71" name="Text Placeholder 10"/>
          <p:cNvSpPr>
            <a:spLocks noGrp="1"/>
          </p:cNvSpPr>
          <p:nvPr>
            <p:ph type="body" sz="quarter" idx="39" hasCustomPrompt="1"/>
          </p:nvPr>
        </p:nvSpPr>
        <p:spPr>
          <a:xfrm>
            <a:off x="3060244" y="1900065"/>
            <a:ext cx="1406725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36000" rIns="36000" anchor="ctr"/>
          <a:lstStyle>
            <a:lvl1pPr marL="0" indent="0" algn="ctr">
              <a:buNone/>
              <a:defRPr sz="12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Sub-phase</a:t>
            </a:r>
          </a:p>
        </p:txBody>
      </p:sp>
      <p:sp>
        <p:nvSpPr>
          <p:cNvPr id="72" name="Text Placeholder 10"/>
          <p:cNvSpPr>
            <a:spLocks noGrp="1"/>
          </p:cNvSpPr>
          <p:nvPr>
            <p:ph type="body" sz="quarter" idx="40" hasCustomPrompt="1"/>
          </p:nvPr>
        </p:nvSpPr>
        <p:spPr>
          <a:xfrm>
            <a:off x="4407990" y="1900065"/>
            <a:ext cx="1406725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36000" rIns="36000" anchor="ctr"/>
          <a:lstStyle>
            <a:lvl1pPr marL="0" indent="0" algn="ctr">
              <a:buNone/>
              <a:defRPr sz="12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Sub-phase</a:t>
            </a:r>
          </a:p>
        </p:txBody>
      </p:sp>
      <p:sp>
        <p:nvSpPr>
          <p:cNvPr id="104" name="Text Placeholder 10"/>
          <p:cNvSpPr>
            <a:spLocks noGrp="1"/>
          </p:cNvSpPr>
          <p:nvPr>
            <p:ph type="body" sz="quarter" idx="45" hasCustomPrompt="1"/>
          </p:nvPr>
        </p:nvSpPr>
        <p:spPr>
          <a:xfrm>
            <a:off x="5759692" y="1432051"/>
            <a:ext cx="2761348" cy="434457"/>
          </a:xfrm>
          <a:prstGeom prst="chevron">
            <a:avLst>
              <a:gd name="adj" fmla="val 17620"/>
            </a:avLst>
          </a:prstGeom>
          <a:solidFill>
            <a:schemeClr val="tx2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16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ITLE BOX 3</a:t>
            </a:r>
          </a:p>
        </p:txBody>
      </p:sp>
      <p:sp>
        <p:nvSpPr>
          <p:cNvPr id="107" name="Text Placeholder 10"/>
          <p:cNvSpPr>
            <a:spLocks noGrp="1"/>
          </p:cNvSpPr>
          <p:nvPr>
            <p:ph type="body" sz="quarter" idx="47" hasCustomPrompt="1"/>
          </p:nvPr>
        </p:nvSpPr>
        <p:spPr>
          <a:xfrm>
            <a:off x="5755737" y="1900065"/>
            <a:ext cx="1406725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36000" rIns="36000" anchor="ctr"/>
          <a:lstStyle>
            <a:lvl1pPr marL="0" indent="0" algn="ctr">
              <a:buNone/>
              <a:defRPr sz="12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Sub-phase</a:t>
            </a:r>
          </a:p>
        </p:txBody>
      </p:sp>
      <p:sp>
        <p:nvSpPr>
          <p:cNvPr id="108" name="Text Placeholder 10"/>
          <p:cNvSpPr>
            <a:spLocks noGrp="1"/>
          </p:cNvSpPr>
          <p:nvPr>
            <p:ph type="body" sz="quarter" idx="48" hasCustomPrompt="1"/>
          </p:nvPr>
        </p:nvSpPr>
        <p:spPr>
          <a:xfrm>
            <a:off x="7103483" y="1900065"/>
            <a:ext cx="1406725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36000" rIns="36000" anchor="ctr"/>
          <a:lstStyle>
            <a:lvl1pPr marL="0" indent="0" algn="ctr">
              <a:buNone/>
              <a:defRPr sz="12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Sub-phase</a:t>
            </a:r>
          </a:p>
        </p:txBody>
      </p:sp>
      <p:sp>
        <p:nvSpPr>
          <p:cNvPr id="109" name="Text Placeholder 10"/>
          <p:cNvSpPr>
            <a:spLocks noGrp="1"/>
          </p:cNvSpPr>
          <p:nvPr>
            <p:ph type="body" sz="quarter" idx="49" hasCustomPrompt="1"/>
          </p:nvPr>
        </p:nvSpPr>
        <p:spPr>
          <a:xfrm>
            <a:off x="5490102" y="1142523"/>
            <a:ext cx="620308" cy="504000"/>
          </a:xfrm>
          <a:prstGeom prst="ellipse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0" tIns="0" rIns="0" bIns="0" anchor="ctr"/>
          <a:lstStyle>
            <a:lvl1pPr marL="0" indent="0" algn="ctr">
              <a:buNone/>
              <a:defRPr sz="1000" b="1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Go/</a:t>
            </a:r>
            <a:br>
              <a:rPr lang="en-GB" noProof="0" dirty="0"/>
            </a:br>
            <a:r>
              <a:rPr lang="en-GB" noProof="0" dirty="0"/>
              <a:t>no go</a:t>
            </a:r>
          </a:p>
        </p:txBody>
      </p:sp>
      <p:cxnSp>
        <p:nvCxnSpPr>
          <p:cNvPr id="63" name="Rechte verbindingslijn met pijl 62"/>
          <p:cNvCxnSpPr/>
          <p:nvPr/>
        </p:nvCxnSpPr>
        <p:spPr bwMode="auto">
          <a:xfrm>
            <a:off x="3076232" y="1327499"/>
            <a:ext cx="2439250" cy="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64" name="Tijdelijke aanduiding voor tekst 3"/>
          <p:cNvSpPr>
            <a:spLocks noGrp="1"/>
          </p:cNvSpPr>
          <p:nvPr>
            <p:ph type="body" sz="quarter" idx="34" hasCustomPrompt="1"/>
          </p:nvPr>
        </p:nvSpPr>
        <p:spPr>
          <a:xfrm>
            <a:off x="3913987" y="1188999"/>
            <a:ext cx="1302523" cy="22762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/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Xx weeks</a:t>
            </a:r>
          </a:p>
        </p:txBody>
      </p:sp>
      <p:cxnSp>
        <p:nvCxnSpPr>
          <p:cNvPr id="105" name="Rechte verbindingslijn met pijl 104"/>
          <p:cNvCxnSpPr/>
          <p:nvPr/>
        </p:nvCxnSpPr>
        <p:spPr bwMode="auto">
          <a:xfrm>
            <a:off x="6060943" y="1327436"/>
            <a:ext cx="2464313" cy="229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6" name="Tijdelijke aanduiding voor tekst 3"/>
          <p:cNvSpPr>
            <a:spLocks noGrp="1"/>
          </p:cNvSpPr>
          <p:nvPr>
            <p:ph type="body" sz="quarter" idx="46" hasCustomPrompt="1"/>
          </p:nvPr>
        </p:nvSpPr>
        <p:spPr>
          <a:xfrm>
            <a:off x="6609525" y="1188999"/>
            <a:ext cx="1302523" cy="22762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/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Xx weeks</a:t>
            </a:r>
          </a:p>
        </p:txBody>
      </p:sp>
      <p:sp>
        <p:nvSpPr>
          <p:cNvPr id="113" name="Rechthoek 112"/>
          <p:cNvSpPr/>
          <p:nvPr>
            <p:custDataLst>
              <p:tags r:id="rId4"/>
            </p:custDataLst>
          </p:nvPr>
        </p:nvSpPr>
        <p:spPr>
          <a:xfrm>
            <a:off x="2750328" y="1083653"/>
            <a:ext cx="8616038" cy="1393200"/>
          </a:xfrm>
          <a:prstGeom prst="rect">
            <a:avLst/>
          </a:prstGeom>
          <a:solidFill>
            <a:srgbClr val="FFFFFF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noProof="0" dirty="0"/>
          </a:p>
        </p:txBody>
      </p:sp>
      <p:sp>
        <p:nvSpPr>
          <p:cNvPr id="112" name="Vrije vorm 111"/>
          <p:cNvSpPr/>
          <p:nvPr/>
        </p:nvSpPr>
        <p:spPr bwMode="auto">
          <a:xfrm>
            <a:off x="358646" y="2318453"/>
            <a:ext cx="10739106" cy="403355"/>
          </a:xfrm>
          <a:custGeom>
            <a:avLst/>
            <a:gdLst>
              <a:gd name="connsiteX0" fmla="*/ 0 w 7837714"/>
              <a:gd name="connsiteY0" fmla="*/ 10048 h 391885"/>
              <a:gd name="connsiteX1" fmla="*/ 2602523 w 7837714"/>
              <a:gd name="connsiteY1" fmla="*/ 0 h 391885"/>
              <a:gd name="connsiteX2" fmla="*/ 7837714 w 7837714"/>
              <a:gd name="connsiteY2" fmla="*/ 361740 h 391885"/>
              <a:gd name="connsiteX3" fmla="*/ 0 w 7837714"/>
              <a:gd name="connsiteY3" fmla="*/ 391885 h 391885"/>
              <a:gd name="connsiteX4" fmla="*/ 0 w 7837714"/>
              <a:gd name="connsiteY4" fmla="*/ 10048 h 391885"/>
              <a:gd name="connsiteX0" fmla="*/ 0 w 7837714"/>
              <a:gd name="connsiteY0" fmla="*/ 10048 h 391993"/>
              <a:gd name="connsiteX1" fmla="*/ 2602523 w 7837714"/>
              <a:gd name="connsiteY1" fmla="*/ 0 h 391993"/>
              <a:gd name="connsiteX2" fmla="*/ 7837714 w 7837714"/>
              <a:gd name="connsiteY2" fmla="*/ 391993 h 391993"/>
              <a:gd name="connsiteX3" fmla="*/ 0 w 7837714"/>
              <a:gd name="connsiteY3" fmla="*/ 391885 h 391993"/>
              <a:gd name="connsiteX4" fmla="*/ 0 w 7837714"/>
              <a:gd name="connsiteY4" fmla="*/ 10048 h 391993"/>
              <a:gd name="connsiteX0" fmla="*/ 10048 w 7837714"/>
              <a:gd name="connsiteY0" fmla="*/ 20132 h 391993"/>
              <a:gd name="connsiteX1" fmla="*/ 2602523 w 7837714"/>
              <a:gd name="connsiteY1" fmla="*/ 0 h 391993"/>
              <a:gd name="connsiteX2" fmla="*/ 7837714 w 7837714"/>
              <a:gd name="connsiteY2" fmla="*/ 391993 h 391993"/>
              <a:gd name="connsiteX3" fmla="*/ 0 w 7837714"/>
              <a:gd name="connsiteY3" fmla="*/ 391885 h 391993"/>
              <a:gd name="connsiteX4" fmla="*/ 10048 w 7837714"/>
              <a:gd name="connsiteY4" fmla="*/ 20132 h 391993"/>
              <a:gd name="connsiteX0" fmla="*/ 0 w 7837715"/>
              <a:gd name="connsiteY0" fmla="*/ 0 h 392029"/>
              <a:gd name="connsiteX1" fmla="*/ 2602524 w 7837715"/>
              <a:gd name="connsiteY1" fmla="*/ 36 h 392029"/>
              <a:gd name="connsiteX2" fmla="*/ 7837715 w 7837715"/>
              <a:gd name="connsiteY2" fmla="*/ 392029 h 392029"/>
              <a:gd name="connsiteX3" fmla="*/ 1 w 7837715"/>
              <a:gd name="connsiteY3" fmla="*/ 391921 h 392029"/>
              <a:gd name="connsiteX4" fmla="*/ 0 w 7837715"/>
              <a:gd name="connsiteY4" fmla="*/ 0 h 392029"/>
              <a:gd name="connsiteX0" fmla="*/ 0 w 7837715"/>
              <a:gd name="connsiteY0" fmla="*/ 10048 h 402077"/>
              <a:gd name="connsiteX1" fmla="*/ 1952655 w 7837715"/>
              <a:gd name="connsiteY1" fmla="*/ 0 h 402077"/>
              <a:gd name="connsiteX2" fmla="*/ 7837715 w 7837715"/>
              <a:gd name="connsiteY2" fmla="*/ 402077 h 402077"/>
              <a:gd name="connsiteX3" fmla="*/ 1 w 7837715"/>
              <a:gd name="connsiteY3" fmla="*/ 401969 h 402077"/>
              <a:gd name="connsiteX4" fmla="*/ 0 w 7837715"/>
              <a:gd name="connsiteY4" fmla="*/ 10048 h 402077"/>
              <a:gd name="connsiteX0" fmla="*/ 0 w 7837715"/>
              <a:gd name="connsiteY0" fmla="*/ 10048 h 402077"/>
              <a:gd name="connsiteX1" fmla="*/ 1952655 w 7837715"/>
              <a:gd name="connsiteY1" fmla="*/ 0 h 402077"/>
              <a:gd name="connsiteX2" fmla="*/ 7837715 w 7837715"/>
              <a:gd name="connsiteY2" fmla="*/ 402077 h 402077"/>
              <a:gd name="connsiteX3" fmla="*/ 1 w 7837715"/>
              <a:gd name="connsiteY3" fmla="*/ 401969 h 402077"/>
              <a:gd name="connsiteX4" fmla="*/ 0 w 7837715"/>
              <a:gd name="connsiteY4" fmla="*/ 10048 h 402077"/>
              <a:gd name="connsiteX0" fmla="*/ 0 w 7837715"/>
              <a:gd name="connsiteY0" fmla="*/ 10795 h 402824"/>
              <a:gd name="connsiteX1" fmla="*/ 1952655 w 7837715"/>
              <a:gd name="connsiteY1" fmla="*/ 747 h 402824"/>
              <a:gd name="connsiteX2" fmla="*/ 7837715 w 7837715"/>
              <a:gd name="connsiteY2" fmla="*/ 402824 h 402824"/>
              <a:gd name="connsiteX3" fmla="*/ 1 w 7837715"/>
              <a:gd name="connsiteY3" fmla="*/ 402716 h 402824"/>
              <a:gd name="connsiteX4" fmla="*/ 0 w 7837715"/>
              <a:gd name="connsiteY4" fmla="*/ 10795 h 402824"/>
              <a:gd name="connsiteX0" fmla="*/ 0 w 7837715"/>
              <a:gd name="connsiteY0" fmla="*/ 12774 h 404803"/>
              <a:gd name="connsiteX1" fmla="*/ 1952655 w 7837715"/>
              <a:gd name="connsiteY1" fmla="*/ 2726 h 404803"/>
              <a:gd name="connsiteX2" fmla="*/ 7837715 w 7837715"/>
              <a:gd name="connsiteY2" fmla="*/ 404803 h 404803"/>
              <a:gd name="connsiteX3" fmla="*/ 1 w 7837715"/>
              <a:gd name="connsiteY3" fmla="*/ 404695 h 404803"/>
              <a:gd name="connsiteX4" fmla="*/ 0 w 7837715"/>
              <a:gd name="connsiteY4" fmla="*/ 12774 h 404803"/>
              <a:gd name="connsiteX0" fmla="*/ 0 w 7837715"/>
              <a:gd name="connsiteY0" fmla="*/ 12774 h 404803"/>
              <a:gd name="connsiteX1" fmla="*/ 1952655 w 7837715"/>
              <a:gd name="connsiteY1" fmla="*/ 2726 h 404803"/>
              <a:gd name="connsiteX2" fmla="*/ 7837715 w 7837715"/>
              <a:gd name="connsiteY2" fmla="*/ 404803 h 404803"/>
              <a:gd name="connsiteX3" fmla="*/ 1 w 7837715"/>
              <a:gd name="connsiteY3" fmla="*/ 404695 h 404803"/>
              <a:gd name="connsiteX4" fmla="*/ 0 w 7837715"/>
              <a:gd name="connsiteY4" fmla="*/ 12774 h 404803"/>
              <a:gd name="connsiteX0" fmla="*/ 1897 w 7839612"/>
              <a:gd name="connsiteY0" fmla="*/ 12774 h 404803"/>
              <a:gd name="connsiteX1" fmla="*/ 1954552 w 7839612"/>
              <a:gd name="connsiteY1" fmla="*/ 2726 h 404803"/>
              <a:gd name="connsiteX2" fmla="*/ 7839612 w 7839612"/>
              <a:gd name="connsiteY2" fmla="*/ 404803 h 404803"/>
              <a:gd name="connsiteX3" fmla="*/ 1898 w 7839612"/>
              <a:gd name="connsiteY3" fmla="*/ 404695 h 404803"/>
              <a:gd name="connsiteX4" fmla="*/ 1897 w 7839612"/>
              <a:gd name="connsiteY4" fmla="*/ 12774 h 404803"/>
              <a:gd name="connsiteX0" fmla="*/ 1897 w 7839612"/>
              <a:gd name="connsiteY0" fmla="*/ 12774 h 404803"/>
              <a:gd name="connsiteX1" fmla="*/ 1954552 w 7839612"/>
              <a:gd name="connsiteY1" fmla="*/ 2726 h 404803"/>
              <a:gd name="connsiteX2" fmla="*/ 7839612 w 7839612"/>
              <a:gd name="connsiteY2" fmla="*/ 404803 h 404803"/>
              <a:gd name="connsiteX3" fmla="*/ 1898 w 7839612"/>
              <a:gd name="connsiteY3" fmla="*/ 404695 h 404803"/>
              <a:gd name="connsiteX4" fmla="*/ 1897 w 7839612"/>
              <a:gd name="connsiteY4" fmla="*/ 12774 h 404803"/>
              <a:gd name="connsiteX0" fmla="*/ 0 w 7837715"/>
              <a:gd name="connsiteY0" fmla="*/ 12774 h 404803"/>
              <a:gd name="connsiteX1" fmla="*/ 1952655 w 7837715"/>
              <a:gd name="connsiteY1" fmla="*/ 2726 h 404803"/>
              <a:gd name="connsiteX2" fmla="*/ 7837715 w 7837715"/>
              <a:gd name="connsiteY2" fmla="*/ 404803 h 404803"/>
              <a:gd name="connsiteX3" fmla="*/ 18053 w 7837715"/>
              <a:gd name="connsiteY3" fmla="*/ 404695 h 404803"/>
              <a:gd name="connsiteX4" fmla="*/ 0 w 7837715"/>
              <a:gd name="connsiteY4" fmla="*/ 12774 h 404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37715" h="404803">
                <a:moveTo>
                  <a:pt x="0" y="12774"/>
                </a:moveTo>
                <a:cubicBezTo>
                  <a:pt x="10042" y="-10745"/>
                  <a:pt x="1301770" y="6075"/>
                  <a:pt x="1952655" y="2726"/>
                </a:cubicBezTo>
                <a:cubicBezTo>
                  <a:pt x="1937660" y="-14514"/>
                  <a:pt x="5876028" y="270777"/>
                  <a:pt x="7837715" y="404803"/>
                </a:cubicBezTo>
                <a:lnTo>
                  <a:pt x="18053" y="404695"/>
                </a:lnTo>
                <a:cubicBezTo>
                  <a:pt x="9027" y="374900"/>
                  <a:pt x="18051" y="-17936"/>
                  <a:pt x="0" y="12774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62361" y="1432051"/>
            <a:ext cx="2761348" cy="434457"/>
          </a:xfrm>
          <a:prstGeom prst="chevron">
            <a:avLst>
              <a:gd name="adj" fmla="val 17620"/>
            </a:avLst>
          </a:prstGeom>
          <a:solidFill>
            <a:schemeClr val="tx2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16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ITLE BOX 1</a:t>
            </a:r>
          </a:p>
        </p:txBody>
      </p:sp>
      <p:graphicFrame>
        <p:nvGraphicFramePr>
          <p:cNvPr id="51" name="Tabel 50"/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24558574"/>
              </p:ext>
            </p:extLst>
          </p:nvPr>
        </p:nvGraphicFramePr>
        <p:xfrm>
          <a:off x="371114" y="2721700"/>
          <a:ext cx="10726639" cy="336405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1660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606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4111">
                <a:tc>
                  <a:txBody>
                    <a:bodyPr/>
                    <a:lstStyle/>
                    <a:p>
                      <a:r>
                        <a:rPr lang="en-GB" sz="1400" b="0" noProof="0" dirty="0">
                          <a:solidFill>
                            <a:schemeClr val="accent1"/>
                          </a:solidFill>
                        </a:rPr>
                        <a:t>DELIVERABLES</a:t>
                      </a:r>
                    </a:p>
                  </a:txBody>
                  <a:tcPr marL="120000" marR="120000" marT="0" marB="0" anchor="ctr"/>
                </a:tc>
                <a:tc>
                  <a:txBody>
                    <a:bodyPr/>
                    <a:lstStyle/>
                    <a:p>
                      <a:r>
                        <a:rPr lang="en-GB" sz="1400" b="0" noProof="0" dirty="0">
                          <a:solidFill>
                            <a:schemeClr val="accent1"/>
                          </a:solidFill>
                        </a:rPr>
                        <a:t>ACTIVITIES</a:t>
                      </a:r>
                    </a:p>
                  </a:txBody>
                  <a:tcPr marL="120000" marR="12000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1988"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</a:txBody>
                  <a:tcPr marL="120000" marR="120000" marT="0" marB="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  <a:endParaRPr lang="en-GB" sz="12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0000" marR="120000" marT="0" marB="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1988"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</a:txBody>
                  <a:tcPr marL="120000" marR="120000" marT="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  <a:endParaRPr lang="en-GB" sz="12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0000" marR="120000" marT="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1988"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</a:txBody>
                  <a:tcPr marL="120000" marR="120000" marT="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  <a:endParaRPr lang="en-GB" sz="12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0000" marR="120000" marT="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1988"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</a:txBody>
                  <a:tcPr marL="120000" marR="120000" marT="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  <a:endParaRPr lang="en-GB" sz="12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0000" marR="120000" marT="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01988"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</a:txBody>
                  <a:tcPr marL="120000" marR="120000" marT="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</a:p>
                    <a:p>
                      <a:pPr marL="108000" indent="-108000" algn="l" defTabSz="914400" rtl="0" eaLnBrk="1" latinLnBrk="0" hangingPunct="1">
                        <a:buClr>
                          <a:schemeClr val="accent1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en-GB" sz="12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...</a:t>
                      </a:r>
                      <a:endParaRPr lang="en-GB" sz="12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0000" marR="120000" marT="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9" name="Text Placeholder 10"/>
          <p:cNvSpPr>
            <a:spLocks noGrp="1"/>
          </p:cNvSpPr>
          <p:nvPr>
            <p:ph type="body" sz="quarter" idx="37" hasCustomPrompt="1"/>
          </p:nvPr>
        </p:nvSpPr>
        <p:spPr>
          <a:xfrm>
            <a:off x="362358" y="1900065"/>
            <a:ext cx="1351385" cy="434457"/>
          </a:xfrm>
          <a:prstGeom prst="homePlate">
            <a:avLst>
              <a:gd name="adj" fmla="val 19933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36000" rIns="36000" anchor="ctr"/>
          <a:lstStyle>
            <a:lvl1pPr marL="0" indent="0" algn="ctr">
              <a:buNone/>
              <a:defRPr sz="12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Sub-phase</a:t>
            </a:r>
          </a:p>
        </p:txBody>
      </p:sp>
      <p:sp>
        <p:nvSpPr>
          <p:cNvPr id="70" name="Text Placeholder 10"/>
          <p:cNvSpPr>
            <a:spLocks noGrp="1"/>
          </p:cNvSpPr>
          <p:nvPr>
            <p:ph type="body" sz="quarter" idx="38" hasCustomPrompt="1"/>
          </p:nvPr>
        </p:nvSpPr>
        <p:spPr>
          <a:xfrm>
            <a:off x="1654764" y="1900065"/>
            <a:ext cx="1464458" cy="434457"/>
          </a:xfrm>
          <a:prstGeom prst="chevron">
            <a:avLst>
              <a:gd name="adj" fmla="val 17620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lIns="36000" rIns="36000" anchor="ctr"/>
          <a:lstStyle>
            <a:lvl1pPr marL="0" indent="0" algn="ctr">
              <a:buNone/>
              <a:defRPr sz="1200" b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Sub-phase</a:t>
            </a:r>
          </a:p>
        </p:txBody>
      </p:sp>
      <p:cxnSp>
        <p:nvCxnSpPr>
          <p:cNvPr id="7" name="Rechte verbindingslijn met pijl 6"/>
          <p:cNvCxnSpPr/>
          <p:nvPr/>
        </p:nvCxnSpPr>
        <p:spPr bwMode="auto">
          <a:xfrm>
            <a:off x="337475" y="1327435"/>
            <a:ext cx="2706827" cy="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4" name="Tijdelijke aanduiding voor tekst 3"/>
          <p:cNvSpPr>
            <a:spLocks noGrp="1"/>
          </p:cNvSpPr>
          <p:nvPr>
            <p:ph type="body" sz="quarter" idx="32" hasCustomPrompt="1"/>
          </p:nvPr>
        </p:nvSpPr>
        <p:spPr>
          <a:xfrm>
            <a:off x="1179196" y="1188935"/>
            <a:ext cx="1302523" cy="22762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/>
            </a:lvl1pPr>
            <a:lvl2pPr marL="182563" indent="0">
              <a:buNone/>
              <a:defRPr/>
            </a:lvl2pPr>
            <a:lvl3pPr marL="357187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Xx weeks</a:t>
            </a:r>
          </a:p>
        </p:txBody>
      </p:sp>
    </p:spTree>
    <p:extLst>
      <p:ext uri="{BB962C8B-B14F-4D97-AF65-F5344CB8AC3E}">
        <p14:creationId xmlns:p14="http://schemas.microsoft.com/office/powerpoint/2010/main" val="19562868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Three boxes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A37C08B-C2A4-4088-9A2A-8BD1624132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8690709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5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EE4FEA4-934D-43B3-81A5-D8FCAD571E81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Meaningful, summary title with a max of 14 words</a:t>
            </a:r>
          </a:p>
        </p:txBody>
      </p:sp>
      <p:sp>
        <p:nvSpPr>
          <p:cNvPr id="4" name="Tijdelijke aanduiding voor inhoud 4"/>
          <p:cNvSpPr>
            <a:spLocks noGrp="1"/>
          </p:cNvSpPr>
          <p:nvPr>
            <p:ph sz="quarter" idx="11" hasCustomPrompt="1"/>
          </p:nvPr>
        </p:nvSpPr>
        <p:spPr>
          <a:xfrm>
            <a:off x="323635" y="1112525"/>
            <a:ext cx="11001252" cy="1368623"/>
          </a:xfrm>
          <a:ln>
            <a:solidFill>
              <a:schemeClr val="bg1">
                <a:lumMod val="85000"/>
              </a:schemeClr>
            </a:solidFill>
          </a:ln>
        </p:spPr>
        <p:txBody>
          <a:bodyPr lIns="108000" tIns="108000" anchor="ctr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5" name="Tijdelijke aanduiding voor inhoud 6"/>
          <p:cNvSpPr>
            <a:spLocks noGrp="1"/>
          </p:cNvSpPr>
          <p:nvPr>
            <p:ph sz="quarter" idx="12" hasCustomPrompt="1"/>
          </p:nvPr>
        </p:nvSpPr>
        <p:spPr>
          <a:xfrm>
            <a:off x="323635" y="2625412"/>
            <a:ext cx="11001252" cy="1439863"/>
          </a:xfrm>
          <a:ln>
            <a:solidFill>
              <a:schemeClr val="bg1">
                <a:lumMod val="85000"/>
              </a:schemeClr>
            </a:solidFill>
          </a:ln>
        </p:spPr>
        <p:txBody>
          <a:bodyPr lIns="108000" tIns="108000" anchor="ctr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6" name="Tijdelijke aanduiding voor inhoud 8"/>
          <p:cNvSpPr>
            <a:spLocks noGrp="1"/>
          </p:cNvSpPr>
          <p:nvPr>
            <p:ph sz="quarter" idx="13" hasCustomPrompt="1"/>
          </p:nvPr>
        </p:nvSpPr>
        <p:spPr>
          <a:xfrm>
            <a:off x="323635" y="4209339"/>
            <a:ext cx="11001252" cy="1439862"/>
          </a:xfrm>
          <a:ln>
            <a:solidFill>
              <a:schemeClr val="bg1">
                <a:lumMod val="85000"/>
              </a:schemeClr>
            </a:solidFill>
          </a:ln>
        </p:spPr>
        <p:txBody>
          <a:bodyPr lIns="108000" tIns="108000" anchor="ctr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7" name="Tijdelijke aanduiding voor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9119115" y="6636274"/>
            <a:ext cx="2928815" cy="231775"/>
          </a:xfrm>
        </p:spPr>
        <p:txBody>
          <a:bodyPr anchor="b"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  <p:sp>
        <p:nvSpPr>
          <p:cNvPr id="8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spcBef>
                <a:spcPct val="20000"/>
              </a:spcBef>
              <a:buClr>
                <a:schemeClr val="tx2"/>
              </a:buClr>
              <a:buSzPct val="100000"/>
            </a:pPr>
            <a:r>
              <a:rPr lang="en-GB" noProof="0" dirty="0"/>
              <a:t>Confidential |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2927645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Three boxes stacked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BA9E01C-1CE4-4376-8121-C61F7CEF6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60682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78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B29D72E1-5481-48FB-8648-8DC9F79211E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Meaningful, summary title with a max of 14 words</a:t>
            </a:r>
          </a:p>
        </p:txBody>
      </p:sp>
      <p:sp>
        <p:nvSpPr>
          <p:cNvPr id="4" name="Tijdelijke aanduiding voor inhoud 4"/>
          <p:cNvSpPr>
            <a:spLocks noGrp="1"/>
          </p:cNvSpPr>
          <p:nvPr>
            <p:ph sz="quarter" idx="11" hasCustomPrompt="1"/>
          </p:nvPr>
        </p:nvSpPr>
        <p:spPr>
          <a:xfrm>
            <a:off x="2176629" y="1112523"/>
            <a:ext cx="9148258" cy="1440000"/>
          </a:xfrm>
          <a:ln>
            <a:solidFill>
              <a:schemeClr val="bg1">
                <a:lumMod val="85000"/>
              </a:schemeClr>
            </a:solidFill>
          </a:ln>
        </p:spPr>
        <p:txBody>
          <a:bodyPr lIns="108000" tIns="108000" anchor="ctr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5" name="Tijdelijke aanduiding voor inhoud 6"/>
          <p:cNvSpPr>
            <a:spLocks noGrp="1"/>
          </p:cNvSpPr>
          <p:nvPr>
            <p:ph sz="quarter" idx="12" hasCustomPrompt="1"/>
          </p:nvPr>
        </p:nvSpPr>
        <p:spPr>
          <a:xfrm>
            <a:off x="2176629" y="2661001"/>
            <a:ext cx="9148258" cy="1439863"/>
          </a:xfrm>
          <a:ln>
            <a:solidFill>
              <a:schemeClr val="bg1">
                <a:lumMod val="85000"/>
              </a:schemeClr>
            </a:solidFill>
          </a:ln>
        </p:spPr>
        <p:txBody>
          <a:bodyPr lIns="108000" tIns="108000" anchor="ctr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6" name="Tijdelijke aanduiding voor inhoud 8"/>
          <p:cNvSpPr>
            <a:spLocks noGrp="1"/>
          </p:cNvSpPr>
          <p:nvPr>
            <p:ph sz="quarter" idx="13" hasCustomPrompt="1"/>
          </p:nvPr>
        </p:nvSpPr>
        <p:spPr>
          <a:xfrm>
            <a:off x="2176629" y="4209339"/>
            <a:ext cx="9148258" cy="1439862"/>
          </a:xfrm>
          <a:ln>
            <a:solidFill>
              <a:schemeClr val="bg1">
                <a:lumMod val="85000"/>
              </a:schemeClr>
            </a:solidFill>
          </a:ln>
        </p:spPr>
        <p:txBody>
          <a:bodyPr lIns="108000" tIns="108000" anchor="ctr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7" name="Tijdelijke aanduiding voor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9119115" y="6636274"/>
            <a:ext cx="2928815" cy="231775"/>
          </a:xfrm>
        </p:spPr>
        <p:txBody>
          <a:bodyPr anchor="b"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  <p:sp>
        <p:nvSpPr>
          <p:cNvPr id="8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spcBef>
                <a:spcPct val="20000"/>
              </a:spcBef>
              <a:buClr>
                <a:schemeClr val="tx2"/>
              </a:buClr>
              <a:buSzPct val="100000"/>
            </a:pPr>
            <a:r>
              <a:rPr lang="en-GB" noProof="0" dirty="0"/>
              <a:t>Confidential | for discussion purposes only</a:t>
            </a:r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9" hasCustomPrompt="1"/>
          </p:nvPr>
        </p:nvSpPr>
        <p:spPr>
          <a:xfrm>
            <a:off x="336705" y="1112839"/>
            <a:ext cx="1683692" cy="143968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noProof="0" dirty="0"/>
              <a:t>Image</a:t>
            </a:r>
          </a:p>
        </p:txBody>
      </p:sp>
      <p:sp>
        <p:nvSpPr>
          <p:cNvPr id="11" name="Tijdelijke aanduiding voor afbeelding 9"/>
          <p:cNvSpPr>
            <a:spLocks noGrp="1"/>
          </p:cNvSpPr>
          <p:nvPr>
            <p:ph type="pic" sz="quarter" idx="20" hasCustomPrompt="1"/>
          </p:nvPr>
        </p:nvSpPr>
        <p:spPr>
          <a:xfrm>
            <a:off x="336705" y="2654760"/>
            <a:ext cx="1683692" cy="144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noProof="0" dirty="0"/>
              <a:t>Image</a:t>
            </a:r>
          </a:p>
          <a:p>
            <a:endParaRPr lang="en-GB" noProof="0" dirty="0"/>
          </a:p>
        </p:txBody>
      </p:sp>
      <p:sp>
        <p:nvSpPr>
          <p:cNvPr id="12" name="Tijdelijke aanduiding voor afbeelding 9"/>
          <p:cNvSpPr>
            <a:spLocks noGrp="1"/>
          </p:cNvSpPr>
          <p:nvPr>
            <p:ph type="pic" sz="quarter" idx="21" hasCustomPrompt="1"/>
          </p:nvPr>
        </p:nvSpPr>
        <p:spPr>
          <a:xfrm>
            <a:off x="336705" y="4209339"/>
            <a:ext cx="1683692" cy="144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/>
              <a:defRPr/>
            </a:lvl1pPr>
          </a:lstStyle>
          <a:p>
            <a:r>
              <a:rPr lang="en-GB" noProof="0" dirty="0"/>
              <a:t>Image</a:t>
            </a:r>
          </a:p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387880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Text with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E1BE04-4E64-4DFD-B0F7-30450C8C1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903097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0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A27F3F6-9DE3-4987-A65B-F3C9E88543B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Meaningful, summary title with a max of 14 words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6294" y="1011239"/>
            <a:ext cx="6068646" cy="5164137"/>
          </a:xfrm>
          <a:ln>
            <a:solidFill>
              <a:schemeClr val="bg1">
                <a:lumMod val="85000"/>
              </a:schemeClr>
            </a:solidFill>
          </a:ln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11"/>
          </p:nvPr>
        </p:nvSpPr>
        <p:spPr>
          <a:xfrm>
            <a:off x="6594232" y="1011239"/>
            <a:ext cx="4730261" cy="5164137"/>
          </a:xfrm>
          <a:prstGeom prst="snip1Rect">
            <a:avLst>
              <a:gd name="adj" fmla="val 5425"/>
            </a:avLst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  <p:sp>
        <p:nvSpPr>
          <p:cNvPr id="7" name="Tijdelijke aanduiding voor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9119115" y="6636274"/>
            <a:ext cx="2928815" cy="231775"/>
          </a:xfrm>
        </p:spPr>
        <p:txBody>
          <a:bodyPr anchor="b"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1233039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3_Titeldia grij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0500886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6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0C7999-72D9-4481-B888-DBDE514890F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Vrije vorm 1"/>
          <p:cNvSpPr/>
          <p:nvPr/>
        </p:nvSpPr>
        <p:spPr bwMode="auto">
          <a:xfrm>
            <a:off x="-32156" y="-8709"/>
            <a:ext cx="12240233" cy="6679475"/>
          </a:xfrm>
          <a:custGeom>
            <a:avLst/>
            <a:gdLst>
              <a:gd name="connsiteX0" fmla="*/ 0 w 9927772"/>
              <a:gd name="connsiteY0" fmla="*/ 6470469 h 6679475"/>
              <a:gd name="connsiteX1" fmla="*/ 1384663 w 9927772"/>
              <a:gd name="connsiteY1" fmla="*/ 6470469 h 6679475"/>
              <a:gd name="connsiteX2" fmla="*/ 1541418 w 9927772"/>
              <a:gd name="connsiteY2" fmla="*/ 6679475 h 6679475"/>
              <a:gd name="connsiteX3" fmla="*/ 9927772 w 9927772"/>
              <a:gd name="connsiteY3" fmla="*/ 6679475 h 6679475"/>
              <a:gd name="connsiteX4" fmla="*/ 9927772 w 9927772"/>
              <a:gd name="connsiteY4" fmla="*/ 0 h 6679475"/>
              <a:gd name="connsiteX5" fmla="*/ 17418 w 9927772"/>
              <a:gd name="connsiteY5" fmla="*/ 0 h 6679475"/>
              <a:gd name="connsiteX6" fmla="*/ 0 w 9927772"/>
              <a:gd name="connsiteY6" fmla="*/ 6470469 h 6679475"/>
              <a:gd name="connsiteX0" fmla="*/ 17417 w 9945189"/>
              <a:gd name="connsiteY0" fmla="*/ 6470469 h 6679475"/>
              <a:gd name="connsiteX1" fmla="*/ 1402080 w 9945189"/>
              <a:gd name="connsiteY1" fmla="*/ 6470469 h 6679475"/>
              <a:gd name="connsiteX2" fmla="*/ 1558835 w 9945189"/>
              <a:gd name="connsiteY2" fmla="*/ 6679475 h 6679475"/>
              <a:gd name="connsiteX3" fmla="*/ 9945189 w 9945189"/>
              <a:gd name="connsiteY3" fmla="*/ 6679475 h 6679475"/>
              <a:gd name="connsiteX4" fmla="*/ 9945189 w 9945189"/>
              <a:gd name="connsiteY4" fmla="*/ 0 h 6679475"/>
              <a:gd name="connsiteX5" fmla="*/ 0 w 9945189"/>
              <a:gd name="connsiteY5" fmla="*/ 0 h 6679475"/>
              <a:gd name="connsiteX6" fmla="*/ 17417 w 9945189"/>
              <a:gd name="connsiteY6" fmla="*/ 6470469 h 6679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45189" h="6679475">
                <a:moveTo>
                  <a:pt x="17417" y="6470469"/>
                </a:moveTo>
                <a:lnTo>
                  <a:pt x="1402080" y="6470469"/>
                </a:lnTo>
                <a:lnTo>
                  <a:pt x="1558835" y="6679475"/>
                </a:lnTo>
                <a:lnTo>
                  <a:pt x="9945189" y="6679475"/>
                </a:lnTo>
                <a:lnTo>
                  <a:pt x="9945189" y="0"/>
                </a:lnTo>
                <a:lnTo>
                  <a:pt x="0" y="0"/>
                </a:lnTo>
                <a:cubicBezTo>
                  <a:pt x="5806" y="2156823"/>
                  <a:pt x="11611" y="4313646"/>
                  <a:pt x="17417" y="647046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1657190" y="4293096"/>
            <a:ext cx="8861538" cy="972028"/>
          </a:xfrm>
        </p:spPr>
        <p:txBody>
          <a:bodyPr anchor="ctr"/>
          <a:lstStyle>
            <a:lvl1pPr algn="ctr"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nl-NL" dirty="0"/>
          </a:p>
        </p:txBody>
      </p:sp>
      <p:sp>
        <p:nvSpPr>
          <p:cNvPr id="17" name="Tijdelijke aanduiding voor tekst 14"/>
          <p:cNvSpPr>
            <a:spLocks noGrp="1"/>
          </p:cNvSpPr>
          <p:nvPr>
            <p:ph type="body" sz="quarter" idx="12" hasCustomPrompt="1"/>
          </p:nvPr>
        </p:nvSpPr>
        <p:spPr>
          <a:xfrm>
            <a:off x="1657190" y="6081274"/>
            <a:ext cx="8861538" cy="360000"/>
          </a:xfrm>
        </p:spPr>
        <p:txBody>
          <a:bodyPr anchor="ctr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40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ctr" eaLnBrk="1" hangingPunct="1"/>
            <a:r>
              <a:rPr lang="en-GB" sz="1600" dirty="0"/>
              <a:t>DATE</a:t>
            </a:r>
            <a:endParaRPr lang="en-US" sz="1600" dirty="0"/>
          </a:p>
        </p:txBody>
      </p:sp>
      <p:sp>
        <p:nvSpPr>
          <p:cNvPr id="16" name="Tijdelijke aanduiding voor tekst 14"/>
          <p:cNvSpPr>
            <a:spLocks noGrp="1"/>
          </p:cNvSpPr>
          <p:nvPr>
            <p:ph type="body" sz="quarter" idx="11" hasCustomPrompt="1"/>
          </p:nvPr>
        </p:nvSpPr>
        <p:spPr>
          <a:xfrm>
            <a:off x="1657190" y="5265204"/>
            <a:ext cx="8861538" cy="720000"/>
          </a:xfrm>
        </p:spPr>
        <p:txBody>
          <a:bodyPr anchor="ctr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ctr" eaLnBrk="1" hangingPunct="1"/>
            <a:r>
              <a:rPr lang="en-GB" sz="1600" dirty="0"/>
              <a:t>Presentation Subtitle</a:t>
            </a:r>
            <a:endParaRPr lang="en-US" sz="1600" dirty="0"/>
          </a:p>
        </p:txBody>
      </p:sp>
      <p:sp>
        <p:nvSpPr>
          <p:cNvPr id="11" name="Tijdelijke aanduiding voor tekst 11"/>
          <p:cNvSpPr>
            <a:spLocks noGrp="1"/>
          </p:cNvSpPr>
          <p:nvPr>
            <p:ph type="body" sz="quarter" idx="14" hasCustomPrompt="1"/>
          </p:nvPr>
        </p:nvSpPr>
        <p:spPr>
          <a:xfrm>
            <a:off x="9119115" y="6646322"/>
            <a:ext cx="2928815" cy="231775"/>
          </a:xfrm>
        </p:spPr>
        <p:txBody>
          <a:bodyPr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  <p:sp>
        <p:nvSpPr>
          <p:cNvPr id="13" name="Vrije vorm 12"/>
          <p:cNvSpPr/>
          <p:nvPr/>
        </p:nvSpPr>
        <p:spPr bwMode="auto">
          <a:xfrm>
            <a:off x="-38528" y="6453337"/>
            <a:ext cx="12230528" cy="190419"/>
          </a:xfrm>
          <a:custGeom>
            <a:avLst/>
            <a:gdLst>
              <a:gd name="connsiteX0" fmla="*/ 0 w 9448800"/>
              <a:gd name="connsiteY0" fmla="*/ 0 h 165463"/>
              <a:gd name="connsiteX1" fmla="*/ 1332411 w 9448800"/>
              <a:gd name="connsiteY1" fmla="*/ 0 h 165463"/>
              <a:gd name="connsiteX2" fmla="*/ 1480457 w 9448800"/>
              <a:gd name="connsiteY2" fmla="*/ 165463 h 165463"/>
              <a:gd name="connsiteX3" fmla="*/ 9448800 w 9448800"/>
              <a:gd name="connsiteY3" fmla="*/ 165463 h 165463"/>
              <a:gd name="connsiteX0" fmla="*/ 0 w 9448800"/>
              <a:gd name="connsiteY0" fmla="*/ 34834 h 200297"/>
              <a:gd name="connsiteX1" fmla="*/ 1271451 w 9448800"/>
              <a:gd name="connsiteY1" fmla="*/ 0 h 200297"/>
              <a:gd name="connsiteX2" fmla="*/ 1480457 w 9448800"/>
              <a:gd name="connsiteY2" fmla="*/ 200297 h 200297"/>
              <a:gd name="connsiteX3" fmla="*/ 9448800 w 9448800"/>
              <a:gd name="connsiteY3" fmla="*/ 200297 h 200297"/>
              <a:gd name="connsiteX0" fmla="*/ 0 w 9448800"/>
              <a:gd name="connsiteY0" fmla="*/ 43543 h 209006"/>
              <a:gd name="connsiteX1" fmla="*/ 1349828 w 9448800"/>
              <a:gd name="connsiteY1" fmla="*/ 0 h 209006"/>
              <a:gd name="connsiteX2" fmla="*/ 1480457 w 9448800"/>
              <a:gd name="connsiteY2" fmla="*/ 209006 h 209006"/>
              <a:gd name="connsiteX3" fmla="*/ 9448800 w 9448800"/>
              <a:gd name="connsiteY3" fmla="*/ 209006 h 209006"/>
              <a:gd name="connsiteX0" fmla="*/ 0 w 9448800"/>
              <a:gd name="connsiteY0" fmla="*/ 8709 h 209006"/>
              <a:gd name="connsiteX1" fmla="*/ 1349828 w 9448800"/>
              <a:gd name="connsiteY1" fmla="*/ 0 h 209006"/>
              <a:gd name="connsiteX2" fmla="*/ 1480457 w 9448800"/>
              <a:gd name="connsiteY2" fmla="*/ 209006 h 209006"/>
              <a:gd name="connsiteX3" fmla="*/ 9448800 w 9448800"/>
              <a:gd name="connsiteY3" fmla="*/ 209006 h 209006"/>
              <a:gd name="connsiteX0" fmla="*/ 0 w 9448800"/>
              <a:gd name="connsiteY0" fmla="*/ 1 h 209006"/>
              <a:gd name="connsiteX1" fmla="*/ 1349828 w 9448800"/>
              <a:gd name="connsiteY1" fmla="*/ 0 h 209006"/>
              <a:gd name="connsiteX2" fmla="*/ 1480457 w 9448800"/>
              <a:gd name="connsiteY2" fmla="*/ 209006 h 209006"/>
              <a:gd name="connsiteX3" fmla="*/ 9448800 w 9448800"/>
              <a:gd name="connsiteY3" fmla="*/ 209006 h 209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48800" h="209006">
                <a:moveTo>
                  <a:pt x="0" y="1"/>
                </a:moveTo>
                <a:lnTo>
                  <a:pt x="1349828" y="0"/>
                </a:lnTo>
                <a:lnTo>
                  <a:pt x="1480457" y="209006"/>
                </a:lnTo>
                <a:lnTo>
                  <a:pt x="9448800" y="209006"/>
                </a:lnTo>
              </a:path>
            </a:pathLst>
          </a:cu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FFFBC98-C11C-4A7A-89A0-B7A85DFE353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476" y="6595218"/>
            <a:ext cx="817667" cy="151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1782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Text with title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B15A41-6EE9-4AE6-BF90-300D54E539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986664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83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C5F8AAE-B0DB-4EEC-A375-B88CA3672FB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Meaningful, summary title with a max of 14 words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6294" y="1497051"/>
            <a:ext cx="6068646" cy="4678325"/>
          </a:xfrm>
          <a:ln>
            <a:solidFill>
              <a:schemeClr val="bg1">
                <a:lumMod val="85000"/>
              </a:schemeClr>
            </a:solidFill>
          </a:ln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11"/>
          </p:nvPr>
        </p:nvSpPr>
        <p:spPr>
          <a:xfrm>
            <a:off x="6594232" y="1011239"/>
            <a:ext cx="4730261" cy="5164137"/>
          </a:xfrm>
          <a:prstGeom prst="snip1Rect">
            <a:avLst>
              <a:gd name="adj" fmla="val 4902"/>
            </a:avLst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2" hasCustomPrompt="1"/>
          </p:nvPr>
        </p:nvSpPr>
        <p:spPr>
          <a:xfrm>
            <a:off x="326294" y="1011239"/>
            <a:ext cx="6068646" cy="407987"/>
          </a:xfrm>
          <a:ln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TITLE HEADER IN CAPITALS 16 PX</a:t>
            </a:r>
          </a:p>
        </p:txBody>
      </p:sp>
      <p:sp>
        <p:nvSpPr>
          <p:cNvPr id="7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  <p:sp>
        <p:nvSpPr>
          <p:cNvPr id="8" name="Tijdelijke aanduiding voor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9119115" y="6636274"/>
            <a:ext cx="2928815" cy="231775"/>
          </a:xfrm>
        </p:spPr>
        <p:txBody>
          <a:bodyPr anchor="b"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39130408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Tex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3A30DA-839D-456F-B832-1D14137D34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1483259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5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F7C31C3-1B8B-40CC-8FE9-25E3CF39A20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Meaningful, summary title with a max of 14 words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6294" y="1419226"/>
            <a:ext cx="10998199" cy="4756150"/>
          </a:xfrm>
          <a:ln>
            <a:solidFill>
              <a:schemeClr val="bg1">
                <a:lumMod val="85000"/>
              </a:schemeClr>
            </a:solidFill>
          </a:ln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2" hasCustomPrompt="1"/>
          </p:nvPr>
        </p:nvSpPr>
        <p:spPr>
          <a:xfrm>
            <a:off x="326294" y="962599"/>
            <a:ext cx="10998199" cy="407987"/>
          </a:xfrm>
          <a:prstGeom prst="snip1Rect">
            <a:avLst>
              <a:gd name="adj" fmla="val 37761"/>
            </a:avLst>
          </a:prstGeom>
          <a:ln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TITLE HEADER IN CAPITALS 16 PX</a:t>
            </a:r>
          </a:p>
        </p:txBody>
      </p:sp>
      <p:sp>
        <p:nvSpPr>
          <p:cNvPr id="6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  <p:sp>
        <p:nvSpPr>
          <p:cNvPr id="7" name="Tijdelijke aanduiding voor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9119115" y="6636274"/>
            <a:ext cx="2928815" cy="231775"/>
          </a:xfrm>
        </p:spPr>
        <p:txBody>
          <a:bodyPr anchor="b"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3356954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M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830737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2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050EEE9-2491-41A7-8E24-BB1F385BB75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Vrije vorm 1"/>
          <p:cNvSpPr/>
          <p:nvPr userDrawn="1"/>
        </p:nvSpPr>
        <p:spPr bwMode="auto">
          <a:xfrm>
            <a:off x="-32156" y="-8709"/>
            <a:ext cx="12240233" cy="6679475"/>
          </a:xfrm>
          <a:custGeom>
            <a:avLst/>
            <a:gdLst>
              <a:gd name="connsiteX0" fmla="*/ 0 w 9927772"/>
              <a:gd name="connsiteY0" fmla="*/ 6470469 h 6679475"/>
              <a:gd name="connsiteX1" fmla="*/ 1384663 w 9927772"/>
              <a:gd name="connsiteY1" fmla="*/ 6470469 h 6679475"/>
              <a:gd name="connsiteX2" fmla="*/ 1541418 w 9927772"/>
              <a:gd name="connsiteY2" fmla="*/ 6679475 h 6679475"/>
              <a:gd name="connsiteX3" fmla="*/ 9927772 w 9927772"/>
              <a:gd name="connsiteY3" fmla="*/ 6679475 h 6679475"/>
              <a:gd name="connsiteX4" fmla="*/ 9927772 w 9927772"/>
              <a:gd name="connsiteY4" fmla="*/ 0 h 6679475"/>
              <a:gd name="connsiteX5" fmla="*/ 17418 w 9927772"/>
              <a:gd name="connsiteY5" fmla="*/ 0 h 6679475"/>
              <a:gd name="connsiteX6" fmla="*/ 0 w 9927772"/>
              <a:gd name="connsiteY6" fmla="*/ 6470469 h 6679475"/>
              <a:gd name="connsiteX0" fmla="*/ 17417 w 9945189"/>
              <a:gd name="connsiteY0" fmla="*/ 6470469 h 6679475"/>
              <a:gd name="connsiteX1" fmla="*/ 1402080 w 9945189"/>
              <a:gd name="connsiteY1" fmla="*/ 6470469 h 6679475"/>
              <a:gd name="connsiteX2" fmla="*/ 1558835 w 9945189"/>
              <a:gd name="connsiteY2" fmla="*/ 6679475 h 6679475"/>
              <a:gd name="connsiteX3" fmla="*/ 9945189 w 9945189"/>
              <a:gd name="connsiteY3" fmla="*/ 6679475 h 6679475"/>
              <a:gd name="connsiteX4" fmla="*/ 9945189 w 9945189"/>
              <a:gd name="connsiteY4" fmla="*/ 0 h 6679475"/>
              <a:gd name="connsiteX5" fmla="*/ 0 w 9945189"/>
              <a:gd name="connsiteY5" fmla="*/ 0 h 6679475"/>
              <a:gd name="connsiteX6" fmla="*/ 17417 w 9945189"/>
              <a:gd name="connsiteY6" fmla="*/ 6470469 h 6679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45189" h="6679475">
                <a:moveTo>
                  <a:pt x="17417" y="6470469"/>
                </a:moveTo>
                <a:lnTo>
                  <a:pt x="1402080" y="6470469"/>
                </a:lnTo>
                <a:lnTo>
                  <a:pt x="1558835" y="6679475"/>
                </a:lnTo>
                <a:lnTo>
                  <a:pt x="9945189" y="6679475"/>
                </a:lnTo>
                <a:lnTo>
                  <a:pt x="9945189" y="0"/>
                </a:lnTo>
                <a:lnTo>
                  <a:pt x="0" y="0"/>
                </a:lnTo>
                <a:cubicBezTo>
                  <a:pt x="5806" y="2156823"/>
                  <a:pt x="11611" y="4313646"/>
                  <a:pt x="17417" y="647046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1657190" y="4293096"/>
            <a:ext cx="8861538" cy="972028"/>
          </a:xfrm>
        </p:spPr>
        <p:txBody>
          <a:bodyPr anchor="ctr"/>
          <a:lstStyle>
            <a:lvl1pPr algn="ctr"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nl-NL" dirty="0"/>
          </a:p>
        </p:txBody>
      </p:sp>
      <p:sp>
        <p:nvSpPr>
          <p:cNvPr id="17" name="Tijdelijke aanduiding voor tekst 14"/>
          <p:cNvSpPr>
            <a:spLocks noGrp="1"/>
          </p:cNvSpPr>
          <p:nvPr>
            <p:ph type="body" sz="quarter" idx="12" hasCustomPrompt="1"/>
          </p:nvPr>
        </p:nvSpPr>
        <p:spPr>
          <a:xfrm>
            <a:off x="1657190" y="6081274"/>
            <a:ext cx="8861538" cy="360000"/>
          </a:xfrm>
        </p:spPr>
        <p:txBody>
          <a:bodyPr anchor="ctr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40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ctr" eaLnBrk="1" hangingPunct="1"/>
            <a:r>
              <a:rPr lang="en-GB" sz="1600" dirty="0"/>
              <a:t>DATE</a:t>
            </a:r>
            <a:endParaRPr lang="en-US" sz="1600" dirty="0"/>
          </a:p>
        </p:txBody>
      </p:sp>
      <p:sp>
        <p:nvSpPr>
          <p:cNvPr id="16" name="Tijdelijke aanduiding voor tekst 14"/>
          <p:cNvSpPr>
            <a:spLocks noGrp="1"/>
          </p:cNvSpPr>
          <p:nvPr>
            <p:ph type="body" sz="quarter" idx="11" hasCustomPrompt="1"/>
          </p:nvPr>
        </p:nvSpPr>
        <p:spPr>
          <a:xfrm>
            <a:off x="1657190" y="5265204"/>
            <a:ext cx="8861538" cy="720000"/>
          </a:xfrm>
        </p:spPr>
        <p:txBody>
          <a:bodyPr anchor="ctr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ctr" eaLnBrk="1" hangingPunct="1"/>
            <a:r>
              <a:rPr lang="en-GB" sz="1600" dirty="0"/>
              <a:t>Presentation Subtitle</a:t>
            </a:r>
            <a:endParaRPr lang="en-US" sz="1600" dirty="0"/>
          </a:p>
        </p:txBody>
      </p:sp>
      <p:sp>
        <p:nvSpPr>
          <p:cNvPr id="15" name="Vrije vorm 14"/>
          <p:cNvSpPr/>
          <p:nvPr userDrawn="1"/>
        </p:nvSpPr>
        <p:spPr bwMode="auto">
          <a:xfrm>
            <a:off x="-38528" y="6453337"/>
            <a:ext cx="12230528" cy="190419"/>
          </a:xfrm>
          <a:custGeom>
            <a:avLst/>
            <a:gdLst>
              <a:gd name="connsiteX0" fmla="*/ 0 w 9448800"/>
              <a:gd name="connsiteY0" fmla="*/ 0 h 165463"/>
              <a:gd name="connsiteX1" fmla="*/ 1332411 w 9448800"/>
              <a:gd name="connsiteY1" fmla="*/ 0 h 165463"/>
              <a:gd name="connsiteX2" fmla="*/ 1480457 w 9448800"/>
              <a:gd name="connsiteY2" fmla="*/ 165463 h 165463"/>
              <a:gd name="connsiteX3" fmla="*/ 9448800 w 9448800"/>
              <a:gd name="connsiteY3" fmla="*/ 165463 h 165463"/>
              <a:gd name="connsiteX0" fmla="*/ 0 w 9448800"/>
              <a:gd name="connsiteY0" fmla="*/ 34834 h 200297"/>
              <a:gd name="connsiteX1" fmla="*/ 1271451 w 9448800"/>
              <a:gd name="connsiteY1" fmla="*/ 0 h 200297"/>
              <a:gd name="connsiteX2" fmla="*/ 1480457 w 9448800"/>
              <a:gd name="connsiteY2" fmla="*/ 200297 h 200297"/>
              <a:gd name="connsiteX3" fmla="*/ 9448800 w 9448800"/>
              <a:gd name="connsiteY3" fmla="*/ 200297 h 200297"/>
              <a:gd name="connsiteX0" fmla="*/ 0 w 9448800"/>
              <a:gd name="connsiteY0" fmla="*/ 43543 h 209006"/>
              <a:gd name="connsiteX1" fmla="*/ 1349828 w 9448800"/>
              <a:gd name="connsiteY1" fmla="*/ 0 h 209006"/>
              <a:gd name="connsiteX2" fmla="*/ 1480457 w 9448800"/>
              <a:gd name="connsiteY2" fmla="*/ 209006 h 209006"/>
              <a:gd name="connsiteX3" fmla="*/ 9448800 w 9448800"/>
              <a:gd name="connsiteY3" fmla="*/ 209006 h 209006"/>
              <a:gd name="connsiteX0" fmla="*/ 0 w 9448800"/>
              <a:gd name="connsiteY0" fmla="*/ 8709 h 209006"/>
              <a:gd name="connsiteX1" fmla="*/ 1349828 w 9448800"/>
              <a:gd name="connsiteY1" fmla="*/ 0 h 209006"/>
              <a:gd name="connsiteX2" fmla="*/ 1480457 w 9448800"/>
              <a:gd name="connsiteY2" fmla="*/ 209006 h 209006"/>
              <a:gd name="connsiteX3" fmla="*/ 9448800 w 9448800"/>
              <a:gd name="connsiteY3" fmla="*/ 209006 h 209006"/>
              <a:gd name="connsiteX0" fmla="*/ 0 w 9448800"/>
              <a:gd name="connsiteY0" fmla="*/ 1 h 209006"/>
              <a:gd name="connsiteX1" fmla="*/ 1349828 w 9448800"/>
              <a:gd name="connsiteY1" fmla="*/ 0 h 209006"/>
              <a:gd name="connsiteX2" fmla="*/ 1480457 w 9448800"/>
              <a:gd name="connsiteY2" fmla="*/ 209006 h 209006"/>
              <a:gd name="connsiteX3" fmla="*/ 9448800 w 9448800"/>
              <a:gd name="connsiteY3" fmla="*/ 209006 h 209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48800" h="209006">
                <a:moveTo>
                  <a:pt x="0" y="1"/>
                </a:moveTo>
                <a:lnTo>
                  <a:pt x="1349828" y="0"/>
                </a:lnTo>
                <a:lnTo>
                  <a:pt x="1480457" y="209006"/>
                </a:lnTo>
                <a:lnTo>
                  <a:pt x="9448800" y="209006"/>
                </a:lnTo>
              </a:path>
            </a:pathLst>
          </a:custGeom>
          <a:noFill/>
          <a:ln w="254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22860" dist="127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9D69D2-D00E-4060-A8C8-1BF6A42F365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476" y="6595218"/>
            <a:ext cx="817667" cy="151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8459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3_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02549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3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2F950AF-A40A-4D3A-8953-81DAA9CBC09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1" hasCustomPrompt="1"/>
          </p:nvPr>
        </p:nvSpPr>
        <p:spPr>
          <a:xfrm>
            <a:off x="313709" y="736963"/>
            <a:ext cx="11010783" cy="360000"/>
          </a:xfrm>
        </p:spPr>
        <p:txBody>
          <a:bodyPr anchor="ctr"/>
          <a:lstStyle>
            <a:lvl1pPr>
              <a:buNone/>
              <a:defRPr sz="1400" b="0" i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i="1">
                <a:solidFill>
                  <a:schemeClr val="accent1"/>
                </a:solidFill>
              </a:defRPr>
            </a:lvl2pPr>
            <a:lvl3pPr>
              <a:defRPr i="1">
                <a:solidFill>
                  <a:schemeClr val="accent1"/>
                </a:solidFill>
              </a:defRPr>
            </a:lvl3pPr>
            <a:lvl4pPr>
              <a:defRPr i="1">
                <a:solidFill>
                  <a:schemeClr val="accent1"/>
                </a:solidFill>
              </a:defRPr>
            </a:lvl4pPr>
            <a:lvl5pPr>
              <a:defRPr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AREA FOR GRAPH TITEL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293" y="0"/>
            <a:ext cx="10998199" cy="692696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 noProof="0" dirty="0"/>
              <a:t>Meaningful, summary title with a max of 14 words</a:t>
            </a:r>
          </a:p>
        </p:txBody>
      </p:sp>
      <p:sp>
        <p:nvSpPr>
          <p:cNvPr id="7" name="Tijdelijke aanduiding voor tekst 4"/>
          <p:cNvSpPr>
            <a:spLocks noGrp="1"/>
          </p:cNvSpPr>
          <p:nvPr>
            <p:ph type="body" sz="quarter" idx="13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</p:spTree>
    <p:extLst>
      <p:ext uri="{BB962C8B-B14F-4D97-AF65-F5344CB8AC3E}">
        <p14:creationId xmlns:p14="http://schemas.microsoft.com/office/powerpoint/2010/main" val="3149517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D7D5CE-01BE-42E0-B157-BEB6B810B8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96041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71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0289B0-9301-44D7-89CB-F735AA19571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jdelijke aanduiding voor inhoud 7"/>
          <p:cNvSpPr>
            <a:spLocks noGrp="1"/>
          </p:cNvSpPr>
          <p:nvPr>
            <p:ph sz="quarter" idx="12"/>
          </p:nvPr>
        </p:nvSpPr>
        <p:spPr>
          <a:xfrm>
            <a:off x="323636" y="1766383"/>
            <a:ext cx="6577263" cy="2785380"/>
          </a:xfrm>
          <a:ln>
            <a:solidFill>
              <a:schemeClr val="bg1">
                <a:lumMod val="85000"/>
              </a:schemeClr>
            </a:solidFill>
          </a:ln>
        </p:spPr>
        <p:txBody>
          <a:bodyPr tIns="180000"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3"/>
          </p:nvPr>
        </p:nvSpPr>
        <p:spPr>
          <a:xfrm>
            <a:off x="6900984" y="1766383"/>
            <a:ext cx="4423508" cy="27853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ct val="20000"/>
              </a:spcBef>
              <a:buClr>
                <a:schemeClr val="tx2"/>
              </a:buClr>
              <a:buSzPct val="100000"/>
            </a:pPr>
            <a:r>
              <a:rPr lang="en-US"/>
              <a:t>Confidential | for discussion purposes only</a:t>
            </a:r>
            <a:endParaRPr lang="en-US" dirty="0"/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323636" y="1406525"/>
            <a:ext cx="11001250" cy="360000"/>
          </a:xfrm>
          <a:prstGeom prst="snip1Rect">
            <a:avLst/>
          </a:prstGeom>
          <a:ln>
            <a:solidFill>
              <a:schemeClr val="accent6"/>
            </a:solidFill>
          </a:ln>
        </p:spPr>
        <p:txBody>
          <a:bodyPr anchor="ctr"/>
          <a:lstStyle>
            <a:lvl1pPr marL="0" indent="0">
              <a:buNone/>
              <a:defRPr sz="16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 dirty="0"/>
              <a:t>TITLE HEADER IN CAPITALS 16 PX</a:t>
            </a:r>
          </a:p>
        </p:txBody>
      </p:sp>
      <p:sp>
        <p:nvSpPr>
          <p:cNvPr id="11" name="Tijdelijke aanduiding vo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</p:spTree>
    <p:extLst>
      <p:ext uri="{BB962C8B-B14F-4D97-AF65-F5344CB8AC3E}">
        <p14:creationId xmlns:p14="http://schemas.microsoft.com/office/powerpoint/2010/main" val="1447536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0152785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4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88F8D90-1B33-4F48-A21D-575449F931E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1" hasCustomPrompt="1"/>
          </p:nvPr>
        </p:nvSpPr>
        <p:spPr>
          <a:xfrm>
            <a:off x="333066" y="735313"/>
            <a:ext cx="10633846" cy="360000"/>
          </a:xfrm>
        </p:spPr>
        <p:txBody>
          <a:bodyPr anchor="ctr"/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5"/>
              </a:buClr>
              <a:buSzPct val="70000"/>
              <a:buFont typeface="Wingdings" charset="0"/>
              <a:buNone/>
              <a:defRPr lang="en-US" sz="1400" b="0" i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defRPr>
            </a:lvl1pPr>
            <a:lvl2pPr>
              <a:defRPr i="1">
                <a:solidFill>
                  <a:schemeClr val="accent1"/>
                </a:solidFill>
              </a:defRPr>
            </a:lvl2pPr>
            <a:lvl3pPr>
              <a:defRPr i="1">
                <a:solidFill>
                  <a:schemeClr val="accent1"/>
                </a:solidFill>
              </a:defRPr>
            </a:lvl3pPr>
            <a:lvl4pPr>
              <a:defRPr i="1">
                <a:solidFill>
                  <a:schemeClr val="accent1"/>
                </a:solidFill>
              </a:defRPr>
            </a:lvl4pPr>
            <a:lvl5pPr>
              <a:defRPr i="1">
                <a:solidFill>
                  <a:schemeClr val="accent1"/>
                </a:solidFill>
              </a:defRPr>
            </a:lvl5pPr>
          </a:lstStyle>
          <a:p>
            <a:pPr marL="182563" lvl="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5"/>
              </a:buClr>
              <a:buSzPct val="70000"/>
              <a:buFont typeface="Wingdings" charset="0"/>
              <a:buNone/>
            </a:pPr>
            <a:r>
              <a:rPr lang="en-US" dirty="0"/>
              <a:t>AREA FOR GRAPH TITEL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293" y="0"/>
            <a:ext cx="10633846" cy="692696"/>
          </a:xfrm>
        </p:spPr>
        <p:txBody>
          <a:bodyPr/>
          <a:lstStyle/>
          <a:p>
            <a:r>
              <a:rPr lang="en-GB" noProof="0" dirty="0"/>
              <a:t>Meaningful, summary title with a max of 14 words</a:t>
            </a:r>
            <a:endParaRPr lang="nl-NL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26292" y="1376364"/>
            <a:ext cx="11352014" cy="4824945"/>
          </a:xfrm>
        </p:spPr>
        <p:txBody>
          <a:bodyPr/>
          <a:lstStyle>
            <a:lvl1pPr marL="182563" indent="-182563">
              <a:buClr>
                <a:schemeClr val="tx2"/>
              </a:buClr>
              <a:buFont typeface="Wingdings" panose="05000000000000000000" pitchFamily="2" charset="2"/>
              <a:buChar char="§"/>
              <a:defRPr lang="en-US" sz="14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defRPr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marL="182563" lvl="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"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3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  <p:sp>
        <p:nvSpPr>
          <p:cNvPr id="13" name="Tijdelijke aanduiding voor tekst 11"/>
          <p:cNvSpPr>
            <a:spLocks noGrp="1"/>
          </p:cNvSpPr>
          <p:nvPr>
            <p:ph type="body" sz="quarter" idx="14" hasCustomPrompt="1"/>
          </p:nvPr>
        </p:nvSpPr>
        <p:spPr>
          <a:xfrm>
            <a:off x="9119115" y="6646322"/>
            <a:ext cx="2928815" cy="231775"/>
          </a:xfrm>
        </p:spPr>
        <p:txBody>
          <a:bodyPr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532935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32076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3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8BCF60-B336-4357-B2D2-B642B75F4481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1" hasCustomPrompt="1"/>
          </p:nvPr>
        </p:nvSpPr>
        <p:spPr>
          <a:xfrm>
            <a:off x="326293" y="736963"/>
            <a:ext cx="10633846" cy="360000"/>
          </a:xfrm>
        </p:spPr>
        <p:txBody>
          <a:bodyPr anchor="ctr"/>
          <a:lstStyle>
            <a:lvl1pPr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i="1">
                <a:solidFill>
                  <a:schemeClr val="accent1"/>
                </a:solidFill>
              </a:defRPr>
            </a:lvl2pPr>
            <a:lvl3pPr>
              <a:defRPr i="1">
                <a:solidFill>
                  <a:schemeClr val="accent1"/>
                </a:solidFill>
              </a:defRPr>
            </a:lvl3pPr>
            <a:lvl4pPr>
              <a:defRPr i="1">
                <a:solidFill>
                  <a:schemeClr val="accent1"/>
                </a:solidFill>
              </a:defRPr>
            </a:lvl4pPr>
            <a:lvl5pPr>
              <a:defRPr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AREA FOR GRAPH TITEL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7388" y="0"/>
            <a:ext cx="10633846" cy="692696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Meaningful, summary title with a max of 14 words</a:t>
            </a:r>
            <a:endParaRPr lang="nl-NL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44702" y="1885988"/>
            <a:ext cx="4430769" cy="4014823"/>
          </a:xfrm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185236" y="1885987"/>
            <a:ext cx="4430769" cy="4012395"/>
          </a:xfrm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44854" y="1373707"/>
            <a:ext cx="4430769" cy="434457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1080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tx2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HEADER IN CAPITALS 16 PX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184305" y="1376773"/>
            <a:ext cx="4430769" cy="434457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1080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tx2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HEADER IN CAPITALS 16 PX</a:t>
            </a:r>
          </a:p>
        </p:txBody>
      </p:sp>
      <p:sp>
        <p:nvSpPr>
          <p:cNvPr id="13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/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/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  <p:sp>
        <p:nvSpPr>
          <p:cNvPr id="14" name="Tijdelijke aanduiding voor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9119115" y="6656370"/>
            <a:ext cx="2928815" cy="231775"/>
          </a:xfrm>
        </p:spPr>
        <p:txBody>
          <a:bodyPr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31248364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Two Boxes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769387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0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EE82FAA-020E-41DC-8947-A0D37DBB9F2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5" name="Groep 14"/>
          <p:cNvGrpSpPr/>
          <p:nvPr/>
        </p:nvGrpSpPr>
        <p:grpSpPr>
          <a:xfrm>
            <a:off x="3665870" y="3179194"/>
            <a:ext cx="2469899" cy="1008113"/>
            <a:chOff x="1646362" y="1661723"/>
            <a:chExt cx="2006793" cy="1008113"/>
          </a:xfrm>
        </p:grpSpPr>
        <p:sp>
          <p:nvSpPr>
            <p:cNvPr id="16" name="Vijfhoek 15"/>
            <p:cNvSpPr/>
            <p:nvPr/>
          </p:nvSpPr>
          <p:spPr>
            <a:xfrm>
              <a:off x="1780947" y="1661723"/>
              <a:ext cx="1872208" cy="1008113"/>
            </a:xfrm>
            <a:prstGeom prst="homePlate">
              <a:avLst>
                <a:gd name="adj" fmla="val 14387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Vijfhoek 16"/>
            <p:cNvSpPr/>
            <p:nvPr/>
          </p:nvSpPr>
          <p:spPr>
            <a:xfrm>
              <a:off x="1646362" y="1661723"/>
              <a:ext cx="1872208" cy="1008113"/>
            </a:xfrm>
            <a:prstGeom prst="homePlate">
              <a:avLst>
                <a:gd name="adj" fmla="val 14387"/>
              </a:avLst>
            </a:prstGeom>
            <a:solidFill>
              <a:schemeClr val="bg1">
                <a:lumMod val="9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Tijdelijke aanduiding voor tekst 8"/>
          <p:cNvSpPr>
            <a:spLocks noGrp="1"/>
          </p:cNvSpPr>
          <p:nvPr>
            <p:ph type="body" sz="quarter" idx="11" hasCustomPrompt="1"/>
          </p:nvPr>
        </p:nvSpPr>
        <p:spPr>
          <a:xfrm>
            <a:off x="326293" y="736963"/>
            <a:ext cx="10633846" cy="360000"/>
          </a:xfrm>
        </p:spPr>
        <p:txBody>
          <a:bodyPr anchor="ctr"/>
          <a:lstStyle>
            <a:lvl1pPr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i="1">
                <a:solidFill>
                  <a:schemeClr val="accent1"/>
                </a:solidFill>
              </a:defRPr>
            </a:lvl2pPr>
            <a:lvl3pPr>
              <a:defRPr i="1">
                <a:solidFill>
                  <a:schemeClr val="accent1"/>
                </a:solidFill>
              </a:defRPr>
            </a:lvl3pPr>
            <a:lvl4pPr>
              <a:defRPr i="1">
                <a:solidFill>
                  <a:schemeClr val="accent1"/>
                </a:solidFill>
              </a:defRPr>
            </a:lvl4pPr>
            <a:lvl5pPr>
              <a:defRPr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AREA FOR GRAPH TITEL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7388" y="0"/>
            <a:ext cx="10633846" cy="692696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Meaningful, summary title with a max of 14 words</a:t>
            </a:r>
            <a:endParaRPr lang="nl-NL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44702" y="1885988"/>
            <a:ext cx="4430769" cy="4014823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185236" y="1885987"/>
            <a:ext cx="4430769" cy="4012395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44854" y="1373707"/>
            <a:ext cx="4430769" cy="434457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1080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tx2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HEADER IN CAPITALS 16 PX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184305" y="1376773"/>
            <a:ext cx="4430769" cy="434457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1080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tx2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HEADER IN CAPITALS 16 PX</a:t>
            </a:r>
          </a:p>
        </p:txBody>
      </p:sp>
      <p:sp>
        <p:nvSpPr>
          <p:cNvPr id="13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/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/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  <p:sp>
        <p:nvSpPr>
          <p:cNvPr id="14" name="Tijdelijke aanduiding voor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9119115" y="6656370"/>
            <a:ext cx="2928815" cy="231775"/>
          </a:xfrm>
        </p:spPr>
        <p:txBody>
          <a:bodyPr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5943678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6187950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6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C9DB73C-ECB4-4BA4-9B81-D24934D2335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1" hasCustomPrompt="1"/>
          </p:nvPr>
        </p:nvSpPr>
        <p:spPr>
          <a:xfrm>
            <a:off x="326293" y="736963"/>
            <a:ext cx="10633846" cy="360000"/>
          </a:xfrm>
        </p:spPr>
        <p:txBody>
          <a:bodyPr anchor="ctr"/>
          <a:lstStyle>
            <a:lvl1pPr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i="1">
                <a:solidFill>
                  <a:schemeClr val="accent1"/>
                </a:solidFill>
              </a:defRPr>
            </a:lvl2pPr>
            <a:lvl3pPr>
              <a:defRPr i="1">
                <a:solidFill>
                  <a:schemeClr val="accent1"/>
                </a:solidFill>
              </a:defRPr>
            </a:lvl3pPr>
            <a:lvl4pPr>
              <a:defRPr i="1">
                <a:solidFill>
                  <a:schemeClr val="accent1"/>
                </a:solidFill>
              </a:defRPr>
            </a:lvl4pPr>
            <a:lvl5pPr>
              <a:defRPr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AREA FOR GRAPH TITEL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7388" y="0"/>
            <a:ext cx="10633846" cy="692696"/>
          </a:xfrm>
        </p:spPr>
        <p:txBody>
          <a:bodyPr/>
          <a:lstStyle/>
          <a:p>
            <a:r>
              <a:rPr lang="en-GB" noProof="0" dirty="0"/>
              <a:t>Meaningful, summary title with a max of 14 words</a:t>
            </a:r>
            <a:endParaRPr lang="nl-NL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26293" y="1865892"/>
            <a:ext cx="5139692" cy="1722413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825713" y="1865892"/>
            <a:ext cx="5139692" cy="1721371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26446" y="1373707"/>
            <a:ext cx="5139692" cy="434457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1080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tx2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IN CAPITALS 16 PX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5824783" y="1376773"/>
            <a:ext cx="5139692" cy="434457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1080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tx2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IN CAPITALS 16 PX</a:t>
            </a:r>
          </a:p>
        </p:txBody>
      </p:sp>
      <p:sp>
        <p:nvSpPr>
          <p:cNvPr id="13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  <p:sp>
        <p:nvSpPr>
          <p:cNvPr id="14" name="Tijdelijke aanduiding voor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9119115" y="6636274"/>
            <a:ext cx="2928815" cy="231775"/>
          </a:xfrm>
        </p:spPr>
        <p:txBody>
          <a:bodyPr anchor="b"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14804" y="4367927"/>
            <a:ext cx="5139692" cy="1722413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814224" y="4367927"/>
            <a:ext cx="5139692" cy="1721371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14956" y="3875742"/>
            <a:ext cx="5139692" cy="434457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1080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tx2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IN CAPITALS 16 PX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5813294" y="3878808"/>
            <a:ext cx="5139692" cy="434457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393" tIns="108000" rIns="91393" bIns="45700" numCol="1" anchor="ctr" anchorCtr="0" compatLnSpc="1">
            <a:prstTxWarp prst="textNoShape">
              <a:avLst/>
            </a:prstTxWarp>
          </a:bodyPr>
          <a:lstStyle>
            <a:lvl1pPr>
              <a:defRPr lang="en-GB" sz="1600" b="0" baseline="0" noProof="0" dirty="0">
                <a:solidFill>
                  <a:schemeClr val="tx2"/>
                </a:solidFill>
              </a:defRPr>
            </a:lvl1pPr>
          </a:lstStyle>
          <a:p>
            <a:pPr marL="0" lvl="0" indent="0" algn="ctr">
              <a:lnSpc>
                <a:spcPts val="1600"/>
              </a:lnSpc>
              <a:spcBef>
                <a:spcPts val="0"/>
              </a:spcBef>
              <a:buNone/>
            </a:pPr>
            <a:r>
              <a:rPr lang="en-GB" noProof="0" dirty="0"/>
              <a:t>TITLE BOX IN CAPITALS 16 PX</a:t>
            </a:r>
          </a:p>
        </p:txBody>
      </p:sp>
    </p:spTree>
    <p:extLst>
      <p:ext uri="{BB962C8B-B14F-4D97-AF65-F5344CB8AC3E}">
        <p14:creationId xmlns:p14="http://schemas.microsoft.com/office/powerpoint/2010/main" val="6249800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3_Three Boxes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497861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0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03A430F-8D88-409F-808E-37C0380A4934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7" name="Groep 16"/>
          <p:cNvGrpSpPr/>
          <p:nvPr/>
        </p:nvGrpSpPr>
        <p:grpSpPr>
          <a:xfrm>
            <a:off x="5321612" y="3239315"/>
            <a:ext cx="2469899" cy="1008113"/>
            <a:chOff x="3011904" y="3239315"/>
            <a:chExt cx="2006793" cy="1008113"/>
          </a:xfrm>
        </p:grpSpPr>
        <p:sp>
          <p:nvSpPr>
            <p:cNvPr id="18" name="Vijfhoek 17"/>
            <p:cNvSpPr/>
            <p:nvPr/>
          </p:nvSpPr>
          <p:spPr>
            <a:xfrm>
              <a:off x="3146489" y="3239315"/>
              <a:ext cx="1872208" cy="1008113"/>
            </a:xfrm>
            <a:prstGeom prst="homePlate">
              <a:avLst>
                <a:gd name="adj" fmla="val 14387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Vijfhoek 18"/>
            <p:cNvSpPr/>
            <p:nvPr/>
          </p:nvSpPr>
          <p:spPr>
            <a:xfrm>
              <a:off x="3011904" y="3239315"/>
              <a:ext cx="1872208" cy="1008113"/>
            </a:xfrm>
            <a:prstGeom prst="homePlate">
              <a:avLst>
                <a:gd name="adj" fmla="val 14387"/>
              </a:avLst>
            </a:prstGeom>
            <a:solidFill>
              <a:schemeClr val="bg1">
                <a:lumMod val="9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0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859531" y="1885987"/>
            <a:ext cx="3101538" cy="4072686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7858601" y="1373707"/>
            <a:ext cx="3101538" cy="434457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1600" b="0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ITLE BOX IN CAPITALS 16 PX</a:t>
            </a:r>
          </a:p>
        </p:txBody>
      </p:sp>
      <p:grpSp>
        <p:nvGrpSpPr>
          <p:cNvPr id="3" name="Groep 2"/>
          <p:cNvGrpSpPr/>
          <p:nvPr/>
        </p:nvGrpSpPr>
        <p:grpSpPr>
          <a:xfrm>
            <a:off x="1636195" y="3239315"/>
            <a:ext cx="2469899" cy="1008113"/>
            <a:chOff x="3011904" y="3239315"/>
            <a:chExt cx="2006793" cy="1008113"/>
          </a:xfrm>
        </p:grpSpPr>
        <p:sp>
          <p:nvSpPr>
            <p:cNvPr id="15" name="Vijfhoek 14"/>
            <p:cNvSpPr/>
            <p:nvPr/>
          </p:nvSpPr>
          <p:spPr>
            <a:xfrm>
              <a:off x="3146489" y="3239315"/>
              <a:ext cx="1872208" cy="1008113"/>
            </a:xfrm>
            <a:prstGeom prst="homePlate">
              <a:avLst>
                <a:gd name="adj" fmla="val 14387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Vijfhoek 15"/>
            <p:cNvSpPr/>
            <p:nvPr/>
          </p:nvSpPr>
          <p:spPr>
            <a:xfrm>
              <a:off x="3011904" y="3239315"/>
              <a:ext cx="1872208" cy="1008113"/>
            </a:xfrm>
            <a:prstGeom prst="homePlate">
              <a:avLst>
                <a:gd name="adj" fmla="val 14387"/>
              </a:avLst>
            </a:prstGeom>
            <a:solidFill>
              <a:schemeClr val="bg1">
                <a:lumMod val="9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2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Tijdelijke aanduiding voor tekst 8"/>
          <p:cNvSpPr>
            <a:spLocks noGrp="1"/>
          </p:cNvSpPr>
          <p:nvPr>
            <p:ph type="body" sz="quarter" idx="11" hasCustomPrompt="1"/>
          </p:nvPr>
        </p:nvSpPr>
        <p:spPr>
          <a:xfrm>
            <a:off x="326293" y="736963"/>
            <a:ext cx="10633846" cy="360000"/>
          </a:xfrm>
        </p:spPr>
        <p:txBody>
          <a:bodyPr anchor="ctr"/>
          <a:lstStyle>
            <a:lvl1pPr>
              <a:buNone/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i="1">
                <a:solidFill>
                  <a:schemeClr val="accent1"/>
                </a:solidFill>
              </a:defRPr>
            </a:lvl2pPr>
            <a:lvl3pPr>
              <a:defRPr i="1">
                <a:solidFill>
                  <a:schemeClr val="accent1"/>
                </a:solidFill>
              </a:defRPr>
            </a:lvl3pPr>
            <a:lvl4pPr>
              <a:defRPr i="1">
                <a:solidFill>
                  <a:schemeClr val="accent1"/>
                </a:solidFill>
              </a:defRPr>
            </a:lvl4pPr>
            <a:lvl5pPr>
              <a:defRPr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AREA FOR GRAPH TITEL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7388" y="0"/>
            <a:ext cx="10633846" cy="692696"/>
          </a:xfrm>
        </p:spPr>
        <p:txBody>
          <a:bodyPr/>
          <a:lstStyle/>
          <a:p>
            <a:r>
              <a:rPr lang="en-GB" noProof="0" dirty="0"/>
              <a:t>Meaningful, summary title with a max of 14 words</a:t>
            </a:r>
            <a:endParaRPr lang="nl-NL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43855" y="1885987"/>
            <a:ext cx="3101538" cy="4075151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156491" y="1885987"/>
            <a:ext cx="3101538" cy="4072686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44008" y="1373707"/>
            <a:ext cx="3101538" cy="434457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1600" b="0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ITLE BOX IN CAPITALS 16 PX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155561" y="1373707"/>
            <a:ext cx="3101538" cy="434457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1600" b="0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ITLE BOX IN CAPITALS 16 PX</a:t>
            </a:r>
          </a:p>
        </p:txBody>
      </p:sp>
      <p:sp>
        <p:nvSpPr>
          <p:cNvPr id="13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1893921" y="6085752"/>
            <a:ext cx="9175262" cy="522288"/>
          </a:xfrm>
        </p:spPr>
        <p:txBody>
          <a:bodyPr anchor="b"/>
          <a:lstStyle>
            <a:lvl1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228600" indent="-228600">
              <a:buClr>
                <a:schemeClr val="accent6"/>
              </a:buClr>
              <a:buFont typeface="+mj-lt"/>
              <a:buAutoNum type="arabicParenR"/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Font typeface="+mj-lt"/>
              <a:buAutoNum type="arabicParenR"/>
              <a:defRPr sz="800"/>
            </a:lvl4pPr>
            <a:lvl5pPr marL="2057400" indent="-228600">
              <a:buFont typeface="+mj-lt"/>
              <a:buAutoNum type="arabicParenR"/>
              <a:defRPr sz="800"/>
            </a:lvl5pPr>
          </a:lstStyle>
          <a:p>
            <a:pPr lvl="0"/>
            <a:r>
              <a:rPr lang="en-GB" noProof="0" dirty="0"/>
              <a:t>Place your footnote</a:t>
            </a:r>
          </a:p>
        </p:txBody>
      </p:sp>
      <p:sp>
        <p:nvSpPr>
          <p:cNvPr id="14" name="Tijdelijke aanduiding voor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9119115" y="6636274"/>
            <a:ext cx="2928815" cy="231775"/>
          </a:xfrm>
        </p:spPr>
        <p:txBody>
          <a:bodyPr anchor="b"/>
          <a:lstStyle>
            <a:lvl1pPr marL="0" indent="0" algn="r">
              <a:buNone/>
              <a:defRPr sz="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 dirty="0"/>
              <a:t>Confidential |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1135252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24466544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095" name="think-cell Slide" r:id="rId27" imgW="493" imgH="493" progId="TCLayout.ActiveDocument.1">
                  <p:embed/>
                </p:oleObj>
              </mc:Choice>
              <mc:Fallback>
                <p:oleObj name="think-cell Slide" r:id="rId2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81E39E4-8FAA-49FD-A37E-B169A2BA47C8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Rechthoek 12"/>
          <p:cNvSpPr/>
          <p:nvPr/>
        </p:nvSpPr>
        <p:spPr bwMode="auto">
          <a:xfrm>
            <a:off x="3908" y="0"/>
            <a:ext cx="12188092" cy="69269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636" y="10047"/>
            <a:ext cx="11001252" cy="682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393" tIns="45700" rIns="91393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Meaningful, summary title with a max of 14 words</a:t>
            </a:r>
            <a:endParaRPr lang="nl-NL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5360" y="1081610"/>
            <a:ext cx="10972800" cy="501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393" tIns="45700" rIns="91393" bIns="457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Niveau 1 in 14 </a:t>
            </a:r>
            <a:r>
              <a:rPr lang="nl-NL" dirty="0" err="1"/>
              <a:t>punts</a:t>
            </a:r>
            <a:r>
              <a:rPr lang="nl-NL" dirty="0"/>
              <a:t> </a:t>
            </a:r>
            <a:r>
              <a:rPr lang="nl-NL" dirty="0" err="1"/>
              <a:t>Calibri</a:t>
            </a:r>
            <a:endParaRPr lang="nl-NL" dirty="0"/>
          </a:p>
          <a:p>
            <a:pPr lvl="1"/>
            <a:r>
              <a:rPr lang="nl-NL" dirty="0"/>
              <a:t>Niveau 2 in 12 </a:t>
            </a:r>
            <a:r>
              <a:rPr lang="nl-NL" dirty="0" err="1"/>
              <a:t>punts</a:t>
            </a:r>
            <a:r>
              <a:rPr lang="nl-NL" dirty="0"/>
              <a:t> </a:t>
            </a:r>
            <a:r>
              <a:rPr lang="nl-NL" dirty="0" err="1"/>
              <a:t>Calibri</a:t>
            </a:r>
            <a:endParaRPr lang="nl-NL" dirty="0"/>
          </a:p>
          <a:p>
            <a:pPr lvl="2"/>
            <a:r>
              <a:rPr lang="nl-NL" dirty="0"/>
              <a:t>Niveau 3 in 12 </a:t>
            </a:r>
            <a:r>
              <a:rPr lang="nl-NL" dirty="0" err="1"/>
              <a:t>punts</a:t>
            </a:r>
            <a:r>
              <a:rPr lang="nl-NL" dirty="0"/>
              <a:t> </a:t>
            </a:r>
            <a:r>
              <a:rPr lang="nl-NL" dirty="0" err="1"/>
              <a:t>Calibri</a:t>
            </a:r>
            <a:endParaRPr lang="nl-NL" dirty="0"/>
          </a:p>
        </p:txBody>
      </p:sp>
      <p:sp>
        <p:nvSpPr>
          <p:cNvPr id="1028" name="Rectangle 23"/>
          <p:cNvSpPr>
            <a:spLocks noChangeArrowheads="1"/>
          </p:cNvSpPr>
          <p:nvPr/>
        </p:nvSpPr>
        <p:spPr bwMode="auto">
          <a:xfrm>
            <a:off x="11236264" y="6381328"/>
            <a:ext cx="6799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703" tIns="47853" rIns="0" bIns="47853"/>
          <a:lstStyle/>
          <a:p>
            <a:pPr algn="r" defTabSz="955675"/>
            <a:fld id="{936CA8C6-BC50-8E4C-96E6-D2787B199C20}" type="slidenum">
              <a:rPr lang="nl-NL" sz="800" b="1">
                <a:solidFill>
                  <a:schemeClr val="bg2">
                    <a:lumMod val="75000"/>
                  </a:schemeClr>
                </a:solidFill>
                <a:latin typeface="+mj-lt"/>
              </a:rPr>
              <a:pPr algn="r" defTabSz="955675"/>
              <a:t>‹#›</a:t>
            </a:fld>
            <a:endParaRPr lang="nl-NL" sz="800" b="1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9" name="Vrije vorm 8"/>
          <p:cNvSpPr/>
          <p:nvPr/>
        </p:nvSpPr>
        <p:spPr bwMode="auto">
          <a:xfrm>
            <a:off x="-38528" y="6453337"/>
            <a:ext cx="12230528" cy="190419"/>
          </a:xfrm>
          <a:custGeom>
            <a:avLst/>
            <a:gdLst>
              <a:gd name="connsiteX0" fmla="*/ 0 w 9448800"/>
              <a:gd name="connsiteY0" fmla="*/ 0 h 165463"/>
              <a:gd name="connsiteX1" fmla="*/ 1332411 w 9448800"/>
              <a:gd name="connsiteY1" fmla="*/ 0 h 165463"/>
              <a:gd name="connsiteX2" fmla="*/ 1480457 w 9448800"/>
              <a:gd name="connsiteY2" fmla="*/ 165463 h 165463"/>
              <a:gd name="connsiteX3" fmla="*/ 9448800 w 9448800"/>
              <a:gd name="connsiteY3" fmla="*/ 165463 h 165463"/>
              <a:gd name="connsiteX0" fmla="*/ 0 w 9448800"/>
              <a:gd name="connsiteY0" fmla="*/ 34834 h 200297"/>
              <a:gd name="connsiteX1" fmla="*/ 1271451 w 9448800"/>
              <a:gd name="connsiteY1" fmla="*/ 0 h 200297"/>
              <a:gd name="connsiteX2" fmla="*/ 1480457 w 9448800"/>
              <a:gd name="connsiteY2" fmla="*/ 200297 h 200297"/>
              <a:gd name="connsiteX3" fmla="*/ 9448800 w 9448800"/>
              <a:gd name="connsiteY3" fmla="*/ 200297 h 200297"/>
              <a:gd name="connsiteX0" fmla="*/ 0 w 9448800"/>
              <a:gd name="connsiteY0" fmla="*/ 43543 h 209006"/>
              <a:gd name="connsiteX1" fmla="*/ 1349828 w 9448800"/>
              <a:gd name="connsiteY1" fmla="*/ 0 h 209006"/>
              <a:gd name="connsiteX2" fmla="*/ 1480457 w 9448800"/>
              <a:gd name="connsiteY2" fmla="*/ 209006 h 209006"/>
              <a:gd name="connsiteX3" fmla="*/ 9448800 w 9448800"/>
              <a:gd name="connsiteY3" fmla="*/ 209006 h 209006"/>
              <a:gd name="connsiteX0" fmla="*/ 0 w 9448800"/>
              <a:gd name="connsiteY0" fmla="*/ 8709 h 209006"/>
              <a:gd name="connsiteX1" fmla="*/ 1349828 w 9448800"/>
              <a:gd name="connsiteY1" fmla="*/ 0 h 209006"/>
              <a:gd name="connsiteX2" fmla="*/ 1480457 w 9448800"/>
              <a:gd name="connsiteY2" fmla="*/ 209006 h 209006"/>
              <a:gd name="connsiteX3" fmla="*/ 9448800 w 9448800"/>
              <a:gd name="connsiteY3" fmla="*/ 209006 h 209006"/>
              <a:gd name="connsiteX0" fmla="*/ 0 w 9448800"/>
              <a:gd name="connsiteY0" fmla="*/ 1 h 209006"/>
              <a:gd name="connsiteX1" fmla="*/ 1349828 w 9448800"/>
              <a:gd name="connsiteY1" fmla="*/ 0 h 209006"/>
              <a:gd name="connsiteX2" fmla="*/ 1480457 w 9448800"/>
              <a:gd name="connsiteY2" fmla="*/ 209006 h 209006"/>
              <a:gd name="connsiteX3" fmla="*/ 9448800 w 9448800"/>
              <a:gd name="connsiteY3" fmla="*/ 209006 h 209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48800" h="209006">
                <a:moveTo>
                  <a:pt x="0" y="1"/>
                </a:moveTo>
                <a:lnTo>
                  <a:pt x="1349828" y="0"/>
                </a:lnTo>
                <a:lnTo>
                  <a:pt x="1480457" y="209006"/>
                </a:lnTo>
                <a:lnTo>
                  <a:pt x="9448800" y="209006"/>
                </a:lnTo>
              </a:path>
            </a:pathLst>
          </a:cu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3"/>
          </p:nvPr>
        </p:nvSpPr>
        <p:spPr>
          <a:xfrm>
            <a:off x="8182799" y="6633708"/>
            <a:ext cx="3860800" cy="2392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GB" sz="800" baseline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defRPr>
            </a:lvl1pPr>
          </a:lstStyle>
          <a:p>
            <a:pPr>
              <a:spcBef>
                <a:spcPct val="20000"/>
              </a:spcBef>
              <a:buClr>
                <a:schemeClr val="tx2"/>
              </a:buClr>
              <a:buSzPct val="100000"/>
            </a:pPr>
            <a:r>
              <a:rPr lang="en-US" dirty="0"/>
              <a:t>Confidential | for discussion purposes onl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7D8F37C-0FE9-48AB-87AA-401CE5B1AD9B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476" y="6595218"/>
            <a:ext cx="817667" cy="15109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67" r:id="rId2"/>
    <p:sldLayoutId id="2147483860" r:id="rId3"/>
    <p:sldLayoutId id="2147483894" r:id="rId4"/>
    <p:sldLayoutId id="2147483862" r:id="rId5"/>
    <p:sldLayoutId id="2147483863" r:id="rId6"/>
    <p:sldLayoutId id="2147483897" r:id="rId7"/>
    <p:sldLayoutId id="2147483869" r:id="rId8"/>
    <p:sldLayoutId id="2147483895" r:id="rId9"/>
    <p:sldLayoutId id="2147483873" r:id="rId10"/>
    <p:sldLayoutId id="2147483896" r:id="rId11"/>
    <p:sldLayoutId id="2147483898" r:id="rId12"/>
    <p:sldLayoutId id="2147483900" r:id="rId13"/>
    <p:sldLayoutId id="2147483899" r:id="rId14"/>
    <p:sldLayoutId id="2147483901" r:id="rId15"/>
    <p:sldLayoutId id="2147483902" r:id="rId16"/>
    <p:sldLayoutId id="2147483872" r:id="rId17"/>
    <p:sldLayoutId id="2147483903" r:id="rId18"/>
    <p:sldLayoutId id="2147483875" r:id="rId19"/>
    <p:sldLayoutId id="2147483876" r:id="rId20"/>
    <p:sldLayoutId id="2147483877" r:id="rId21"/>
    <p:sldLayoutId id="2147483905" r:id="rId2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baseline="0">
          <a:solidFill>
            <a:schemeClr val="tx1">
              <a:lumMod val="75000"/>
              <a:lumOff val="25000"/>
            </a:schemeClr>
          </a:solidFill>
          <a:latin typeface="Calibri" panose="020F0502020204030204" pitchFamily="34" charset="0"/>
          <a:ea typeface="ＭＳ Ｐゴシック" charset="-128"/>
          <a:cs typeface="Calibri" panose="020F050202020403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990000"/>
          </a:solidFill>
          <a:latin typeface="Arial" charset="0"/>
          <a:ea typeface="ＭＳ Ｐゴシック" charset="-128"/>
          <a:cs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990000"/>
          </a:solidFill>
          <a:latin typeface="Arial" charset="0"/>
          <a:ea typeface="ＭＳ Ｐゴシック" charset="-128"/>
          <a:cs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990000"/>
          </a:solidFill>
          <a:latin typeface="Arial" charset="0"/>
          <a:ea typeface="ＭＳ Ｐゴシック" charset="-128"/>
          <a:cs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990000"/>
          </a:solidFill>
          <a:latin typeface="Arial" charset="0"/>
          <a:ea typeface="ＭＳ Ｐゴシック" charset="-128"/>
          <a:cs typeface="ＭＳ Ｐゴシック" charset="-128"/>
        </a:defRPr>
      </a:lvl5pPr>
      <a:lvl6pPr marL="456973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3943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0916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7887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182563" indent="-1825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"/>
        <a:defRPr sz="1400">
          <a:solidFill>
            <a:srgbClr val="000000"/>
          </a:solidFill>
          <a:latin typeface="Calibri" panose="020F0502020204030204" pitchFamily="34" charset="0"/>
          <a:ea typeface="ＭＳ Ｐゴシック" charset="-128"/>
          <a:cs typeface="Calibri" panose="020F0502020204030204" pitchFamily="34" charset="0"/>
        </a:defRPr>
      </a:lvl1pPr>
      <a:lvl2pPr marL="357188" indent="-1746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rgbClr val="000000"/>
          </a:solidFill>
          <a:latin typeface="Calibri" panose="020F0502020204030204" pitchFamily="34" charset="0"/>
          <a:ea typeface="ＭＳ Ｐゴシック" charset="-128"/>
        </a:defRPr>
      </a:lvl2pPr>
      <a:lvl3pPr marL="539750" indent="-1825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-"/>
        <a:defRPr sz="1200">
          <a:solidFill>
            <a:srgbClr val="000000"/>
          </a:solidFill>
          <a:latin typeface="Calibri" panose="020F0502020204030204" pitchFamily="34" charset="0"/>
          <a:ea typeface="ＭＳ Ｐゴシック" charset="-128"/>
        </a:defRPr>
      </a:lvl3pPr>
      <a:lvl4pPr marL="1598613" indent="-227013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-"/>
        <a:defRPr sz="1200">
          <a:solidFill>
            <a:srgbClr val="000000"/>
          </a:solidFill>
          <a:latin typeface="Calibri" panose="020F0502020204030204" pitchFamily="34" charset="0"/>
          <a:ea typeface="ＭＳ Ｐゴシック" charset="-128"/>
        </a:defRPr>
      </a:lvl4pPr>
      <a:lvl5pPr marL="2055813" indent="-227013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-"/>
        <a:defRPr sz="1200">
          <a:solidFill>
            <a:srgbClr val="000000"/>
          </a:solidFill>
          <a:latin typeface="Calibri" panose="020F0502020204030204" pitchFamily="34" charset="0"/>
          <a:ea typeface="ＭＳ Ｐゴシック" charset="-128"/>
        </a:defRPr>
      </a:lvl5pPr>
      <a:lvl6pPr marL="2513342" indent="-228487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-"/>
        <a:defRPr sz="900">
          <a:solidFill>
            <a:srgbClr val="000000"/>
          </a:solidFill>
          <a:latin typeface="+mn-lt"/>
          <a:ea typeface="ＭＳ Ｐゴシック" charset="-128"/>
        </a:defRPr>
      </a:lvl6pPr>
      <a:lvl7pPr marL="2970316" indent="-228487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-"/>
        <a:defRPr sz="900">
          <a:solidFill>
            <a:srgbClr val="000000"/>
          </a:solidFill>
          <a:latin typeface="+mn-lt"/>
          <a:ea typeface="ＭＳ Ｐゴシック" charset="-128"/>
        </a:defRPr>
      </a:lvl7pPr>
      <a:lvl8pPr marL="3427290" indent="-228487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-"/>
        <a:defRPr sz="900">
          <a:solidFill>
            <a:srgbClr val="000000"/>
          </a:solidFill>
          <a:latin typeface="+mn-lt"/>
          <a:ea typeface="ＭＳ Ｐゴシック" charset="-128"/>
        </a:defRPr>
      </a:lvl8pPr>
      <a:lvl9pPr marL="3884259" indent="-228487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-"/>
        <a:defRPr sz="900">
          <a:solidFill>
            <a:srgbClr val="000000"/>
          </a:solidFill>
          <a:latin typeface="+mn-lt"/>
          <a:ea typeface="ＭＳ Ｐゴシック" charset="-128"/>
        </a:defRPr>
      </a:lvl9pPr>
    </p:bodyStyle>
    <p:otherStyle>
      <a:defPPr>
        <a:defRPr lang="nl-NL"/>
      </a:defPPr>
      <a:lvl1pPr marL="0" algn="l" defTabSz="4569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73" algn="l" defTabSz="4569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4569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6" algn="l" defTabSz="4569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7" algn="l" defTabSz="4569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60" algn="l" defTabSz="4569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9" algn="l" defTabSz="4569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3" algn="l" defTabSz="4569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4569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AEFAB05-45D1-D14B-AC2A-6BB8DFF25FF0}"/>
              </a:ext>
            </a:extLst>
          </p:cNvPr>
          <p:cNvCxnSpPr>
            <a:cxnSpLocks/>
          </p:cNvCxnSpPr>
          <p:nvPr/>
        </p:nvCxnSpPr>
        <p:spPr bwMode="auto">
          <a:xfrm>
            <a:off x="2368296" y="1261872"/>
            <a:ext cx="0" cy="526694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A4C13BB-028F-F643-B1F2-B759D7F1E1BB}"/>
              </a:ext>
            </a:extLst>
          </p:cNvPr>
          <p:cNvCxnSpPr>
            <a:cxnSpLocks/>
          </p:cNvCxnSpPr>
          <p:nvPr/>
        </p:nvCxnSpPr>
        <p:spPr bwMode="auto">
          <a:xfrm>
            <a:off x="4791456" y="1261872"/>
            <a:ext cx="0" cy="526694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70714AAF-46C0-0444-BDDF-4E25CC8A637A}"/>
              </a:ext>
            </a:extLst>
          </p:cNvPr>
          <p:cNvCxnSpPr>
            <a:cxnSpLocks/>
          </p:cNvCxnSpPr>
          <p:nvPr/>
        </p:nvCxnSpPr>
        <p:spPr bwMode="auto">
          <a:xfrm>
            <a:off x="7068312" y="1261872"/>
            <a:ext cx="0" cy="526694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4395C94-DC0B-4CE9-A4D2-38787FFAD6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31" name="think-cell Slide" r:id="rId5" imgW="370" imgH="371" progId="TCLayout.ActiveDocument.1">
                  <p:embed/>
                </p:oleObj>
              </mc:Choice>
              <mc:Fallback>
                <p:oleObj name="think-cell Slide" r:id="rId5" imgW="370" imgH="37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4395C94-DC0B-4CE9-A4D2-38787FFAD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50CF721-72ED-4600-84AB-55846C9107C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GB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6CF601-2313-4E20-93F0-6F02A278A4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3 extended SEIR model - structure</a:t>
            </a:r>
            <a:endParaRPr lang="en-NL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67334CC-DAFF-4C6A-9FFD-93724B45A5E9}"/>
              </a:ext>
            </a:extLst>
          </p:cNvPr>
          <p:cNvSpPr/>
          <p:nvPr/>
        </p:nvSpPr>
        <p:spPr bwMode="auto">
          <a:xfrm>
            <a:off x="410183" y="3449132"/>
            <a:ext cx="1605943" cy="1599629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Susceptib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E5741B9-A419-4940-AD1A-743D80B44D00}"/>
              </a:ext>
            </a:extLst>
          </p:cNvPr>
          <p:cNvSpPr/>
          <p:nvPr/>
        </p:nvSpPr>
        <p:spPr bwMode="auto">
          <a:xfrm>
            <a:off x="2813175" y="3449132"/>
            <a:ext cx="1605943" cy="1599629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Expose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1A22B02-FBB2-844F-9D6B-23E42C4064B3}"/>
              </a:ext>
            </a:extLst>
          </p:cNvPr>
          <p:cNvSpPr/>
          <p:nvPr/>
        </p:nvSpPr>
        <p:spPr bwMode="auto">
          <a:xfrm>
            <a:off x="5184521" y="2064950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Infectious - mild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531BF13-D576-F841-BE50-BF31481D83D2}"/>
              </a:ext>
            </a:extLst>
          </p:cNvPr>
          <p:cNvSpPr/>
          <p:nvPr/>
        </p:nvSpPr>
        <p:spPr bwMode="auto">
          <a:xfrm>
            <a:off x="5184521" y="3021295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Infectious - hospital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96A44EA-5851-774E-9030-C9F3521BED36}"/>
              </a:ext>
            </a:extLst>
          </p:cNvPr>
          <p:cNvSpPr/>
          <p:nvPr/>
        </p:nvSpPr>
        <p:spPr bwMode="auto">
          <a:xfrm>
            <a:off x="5184521" y="3977640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Infectious - IC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8015763-2DDB-9943-9818-EA842928D5D4}"/>
              </a:ext>
            </a:extLst>
          </p:cNvPr>
          <p:cNvSpPr/>
          <p:nvPr/>
        </p:nvSpPr>
        <p:spPr bwMode="auto">
          <a:xfrm>
            <a:off x="5184521" y="4892040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Infectious – H/death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C74D58F-4508-B44A-ACA2-3AB79B657628}"/>
              </a:ext>
            </a:extLst>
          </p:cNvPr>
          <p:cNvSpPr/>
          <p:nvPr/>
        </p:nvSpPr>
        <p:spPr bwMode="auto">
          <a:xfrm>
            <a:off x="5184521" y="5714161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Infectious – IC/death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96FD682-C848-2B4F-837B-7105A7C1CC68}"/>
              </a:ext>
            </a:extLst>
          </p:cNvPr>
          <p:cNvSpPr/>
          <p:nvPr/>
        </p:nvSpPr>
        <p:spPr bwMode="auto">
          <a:xfrm>
            <a:off x="9787817" y="3015339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recovered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B98AB19-20ED-A540-BFF3-5CE110A67B8A}"/>
              </a:ext>
            </a:extLst>
          </p:cNvPr>
          <p:cNvSpPr/>
          <p:nvPr/>
        </p:nvSpPr>
        <p:spPr bwMode="auto">
          <a:xfrm>
            <a:off x="9787817" y="5288756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death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42859E3-F9F1-DD47-8734-C402B3CCED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NL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9C5F488-420A-E940-ABDA-C7667AF5AC9D}"/>
              </a:ext>
            </a:extLst>
          </p:cNvPr>
          <p:cNvCxnSpPr>
            <a:cxnSpLocks/>
            <a:stCxn id="75" idx="3"/>
            <a:endCxn id="23" idx="1"/>
          </p:cNvCxnSpPr>
          <p:nvPr/>
        </p:nvCxnSpPr>
        <p:spPr bwMode="auto">
          <a:xfrm>
            <a:off x="2016126" y="4248947"/>
            <a:ext cx="797049" cy="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ACFF4B63-0A76-A046-9A54-87629AA203FD}"/>
              </a:ext>
            </a:extLst>
          </p:cNvPr>
          <p:cNvSpPr/>
          <p:nvPr/>
        </p:nvSpPr>
        <p:spPr bwMode="auto">
          <a:xfrm>
            <a:off x="7342505" y="2064950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Non-Infectious - mil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54E893D-1A12-2842-A3C4-65F76F3ACE42}"/>
              </a:ext>
            </a:extLst>
          </p:cNvPr>
          <p:cNvSpPr/>
          <p:nvPr/>
        </p:nvSpPr>
        <p:spPr bwMode="auto">
          <a:xfrm>
            <a:off x="7342505" y="3021295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Non-Infectious - hospita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A7FDEB-1CDD-424F-BFDC-154E392504B9}"/>
              </a:ext>
            </a:extLst>
          </p:cNvPr>
          <p:cNvSpPr/>
          <p:nvPr/>
        </p:nvSpPr>
        <p:spPr bwMode="auto">
          <a:xfrm>
            <a:off x="7342505" y="3977640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Non-Infectious - IC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74F8AC-96CD-A94B-A65A-4F31767358FA}"/>
              </a:ext>
            </a:extLst>
          </p:cNvPr>
          <p:cNvSpPr/>
          <p:nvPr/>
        </p:nvSpPr>
        <p:spPr bwMode="auto">
          <a:xfrm>
            <a:off x="7342505" y="4892040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Non-Infectious – H/death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1D613F9-DA8A-A949-B583-86EED464F3E5}"/>
              </a:ext>
            </a:extLst>
          </p:cNvPr>
          <p:cNvSpPr/>
          <p:nvPr/>
        </p:nvSpPr>
        <p:spPr bwMode="auto">
          <a:xfrm>
            <a:off x="7342505" y="5714161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Non-Infectious – IC/death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E951F8C-45C6-A142-BFB5-821FFC8D32A9}"/>
              </a:ext>
            </a:extLst>
          </p:cNvPr>
          <p:cNvSpPr txBox="1"/>
          <p:nvPr/>
        </p:nvSpPr>
        <p:spPr>
          <a:xfrm>
            <a:off x="410183" y="1261872"/>
            <a:ext cx="1456787" cy="356616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algn="ctr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400" b="1" dirty="0">
                <a:solidFill>
                  <a:schemeClr val="tx2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Susceptib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C1FE309-33AC-E241-B32A-CDDD3CA34D1A}"/>
              </a:ext>
            </a:extLst>
          </p:cNvPr>
          <p:cNvSpPr txBox="1"/>
          <p:nvPr/>
        </p:nvSpPr>
        <p:spPr>
          <a:xfrm>
            <a:off x="2879063" y="1261872"/>
            <a:ext cx="1456787" cy="356616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algn="ctr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400" b="1" dirty="0">
                <a:solidFill>
                  <a:schemeClr val="tx2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Expose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EEA7504-6DD6-874F-AC10-45F253AE5CB5}"/>
              </a:ext>
            </a:extLst>
          </p:cNvPr>
          <p:cNvSpPr txBox="1"/>
          <p:nvPr/>
        </p:nvSpPr>
        <p:spPr>
          <a:xfrm>
            <a:off x="5155919" y="1261872"/>
            <a:ext cx="1456787" cy="356616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algn="ctr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400" b="1" dirty="0">
                <a:solidFill>
                  <a:schemeClr val="tx2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Infectiou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56156BC-82CE-AC40-9A42-F26813A5BE66}"/>
              </a:ext>
            </a:extLst>
          </p:cNvPr>
          <p:cNvSpPr txBox="1"/>
          <p:nvPr/>
        </p:nvSpPr>
        <p:spPr>
          <a:xfrm>
            <a:off x="8722079" y="1261872"/>
            <a:ext cx="1456787" cy="356616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algn="ctr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400" b="1" dirty="0">
                <a:solidFill>
                  <a:schemeClr val="tx2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“Removed”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FAD82E80-369A-FC42-870A-7E7460B81563}"/>
              </a:ext>
            </a:extLst>
          </p:cNvPr>
          <p:cNvCxnSpPr>
            <a:cxnSpLocks/>
          </p:cNvCxnSpPr>
          <p:nvPr/>
        </p:nvCxnSpPr>
        <p:spPr bwMode="auto">
          <a:xfrm>
            <a:off x="4393566" y="4248947"/>
            <a:ext cx="797049" cy="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109C02E4-CBED-174E-8F01-410B59E34851}"/>
              </a:ext>
            </a:extLst>
          </p:cNvPr>
          <p:cNvSpPr/>
          <p:nvPr/>
        </p:nvSpPr>
        <p:spPr bwMode="auto">
          <a:xfrm>
            <a:off x="2230473" y="4088926"/>
            <a:ext cx="292608" cy="32004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3FD40260-9A80-D14A-A96B-15CAAC6AC0A7}"/>
              </a:ext>
            </a:extLst>
          </p:cNvPr>
          <p:cNvSpPr/>
          <p:nvPr/>
        </p:nvSpPr>
        <p:spPr bwMode="auto">
          <a:xfrm>
            <a:off x="4635345" y="4088926"/>
            <a:ext cx="292608" cy="32004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NL" dirty="0">
                <a:solidFill>
                  <a:schemeClr val="bg1"/>
                </a:solidFill>
              </a:rPr>
              <a:t>2</a:t>
            </a:r>
            <a:endParaRPr kumimoji="0" lang="en-NL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F17A4217-833D-D54F-BC35-6DCCC1E5132A}"/>
              </a:ext>
            </a:extLst>
          </p:cNvPr>
          <p:cNvSpPr/>
          <p:nvPr/>
        </p:nvSpPr>
        <p:spPr bwMode="auto">
          <a:xfrm>
            <a:off x="392529" y="2041610"/>
            <a:ext cx="292608" cy="32004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FA8C0-35D5-1843-BCFC-758F39899805}"/>
              </a:ext>
            </a:extLst>
          </p:cNvPr>
          <p:cNvSpPr txBox="1"/>
          <p:nvPr/>
        </p:nvSpPr>
        <p:spPr>
          <a:xfrm>
            <a:off x="685137" y="2050754"/>
            <a:ext cx="3549466" cy="3017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4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: beta = Rint * R0 / Tinf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D146DFE-DB45-8A43-A148-34E6DE7D67EB}"/>
              </a:ext>
            </a:extLst>
          </p:cNvPr>
          <p:cNvSpPr txBox="1"/>
          <p:nvPr/>
        </p:nvSpPr>
        <p:spPr>
          <a:xfrm>
            <a:off x="2106252" y="3659175"/>
            <a:ext cx="574478" cy="3017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algn="ctr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8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β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E74F59C-5020-6C40-91D5-032D8CD0CADD}"/>
              </a:ext>
            </a:extLst>
          </p:cNvPr>
          <p:cNvSpPr txBox="1"/>
          <p:nvPr/>
        </p:nvSpPr>
        <p:spPr>
          <a:xfrm>
            <a:off x="4492836" y="3659175"/>
            <a:ext cx="574478" cy="3017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algn="ctr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8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𝝰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B8FACB92-5D3E-234F-8EFB-B9C3564FF5AA}"/>
              </a:ext>
            </a:extLst>
          </p:cNvPr>
          <p:cNvSpPr/>
          <p:nvPr/>
        </p:nvSpPr>
        <p:spPr bwMode="auto">
          <a:xfrm>
            <a:off x="392529" y="2498810"/>
            <a:ext cx="292608" cy="32004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97B8AD5-AEC5-3C47-8B10-6611704DA832}"/>
              </a:ext>
            </a:extLst>
          </p:cNvPr>
          <p:cNvSpPr txBox="1"/>
          <p:nvPr/>
        </p:nvSpPr>
        <p:spPr>
          <a:xfrm>
            <a:off x="685137" y="2507954"/>
            <a:ext cx="3549466" cy="3017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4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: alfa = 1 / Tinc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82DD477-7207-6849-9674-3FDE62E5BCAF}"/>
              </a:ext>
            </a:extLst>
          </p:cNvPr>
          <p:cNvSpPr/>
          <p:nvPr/>
        </p:nvSpPr>
        <p:spPr bwMode="auto">
          <a:xfrm>
            <a:off x="392529" y="5324306"/>
            <a:ext cx="292608" cy="32004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3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E87669F-54E4-5943-97D7-C857C09B03C3}"/>
              </a:ext>
            </a:extLst>
          </p:cNvPr>
          <p:cNvSpPr txBox="1"/>
          <p:nvPr/>
        </p:nvSpPr>
        <p:spPr>
          <a:xfrm>
            <a:off x="685136" y="5333450"/>
            <a:ext cx="4164359" cy="3017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4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: gamma = 1 / Tinf, kan specifiek zijn per subcat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C8BA667-F299-7F49-B863-4320A88776BE}"/>
              </a:ext>
            </a:extLst>
          </p:cNvPr>
          <p:cNvSpPr/>
          <p:nvPr/>
        </p:nvSpPr>
        <p:spPr bwMode="auto">
          <a:xfrm>
            <a:off x="392529" y="5781506"/>
            <a:ext cx="292608" cy="32004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4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99E11F0-D446-6D43-BB9A-1EB2B3515F04}"/>
              </a:ext>
            </a:extLst>
          </p:cNvPr>
          <p:cNvSpPr txBox="1"/>
          <p:nvPr/>
        </p:nvSpPr>
        <p:spPr>
          <a:xfrm>
            <a:off x="685137" y="5790650"/>
            <a:ext cx="3549466" cy="3017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4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: delta = 1 / (Txx – Tinf), specifiek per subcategorie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4A19CCF4-124D-1145-984E-013602853015}"/>
              </a:ext>
            </a:extLst>
          </p:cNvPr>
          <p:cNvSpPr/>
          <p:nvPr/>
        </p:nvSpPr>
        <p:spPr bwMode="auto">
          <a:xfrm>
            <a:off x="6900728" y="4088926"/>
            <a:ext cx="292608" cy="32004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3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E3BF888-9B7C-5343-8C09-884802654358}"/>
              </a:ext>
            </a:extLst>
          </p:cNvPr>
          <p:cNvSpPr txBox="1"/>
          <p:nvPr/>
        </p:nvSpPr>
        <p:spPr>
          <a:xfrm>
            <a:off x="6778836" y="3659175"/>
            <a:ext cx="574478" cy="3017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algn="ctr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GB" sz="18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𝝲</a:t>
            </a:r>
            <a:endParaRPr lang="en-NL" sz="1800" dirty="0">
              <a:solidFill>
                <a:srgbClr val="000000"/>
              </a:solidFill>
              <a:latin typeface="Calibri" panose="020F0502020204030204" pitchFamily="34" charset="0"/>
              <a:ea typeface="ＭＳ Ｐゴシック" charset="-128"/>
              <a:cs typeface="Calibri" panose="020F0502020204030204" pitchFamily="34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C8E2909A-A851-3D4D-B531-ABE68BB7A1DD}"/>
              </a:ext>
            </a:extLst>
          </p:cNvPr>
          <p:cNvSpPr/>
          <p:nvPr/>
        </p:nvSpPr>
        <p:spPr bwMode="auto">
          <a:xfrm>
            <a:off x="9232448" y="4088926"/>
            <a:ext cx="292608" cy="32004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4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ED9B7EF-2154-4145-8BBE-EC04EEE33CF6}"/>
              </a:ext>
            </a:extLst>
          </p:cNvPr>
          <p:cNvSpPr txBox="1"/>
          <p:nvPr/>
        </p:nvSpPr>
        <p:spPr>
          <a:xfrm>
            <a:off x="9110556" y="3659175"/>
            <a:ext cx="574478" cy="3017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algn="ctr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GB" sz="1800" dirty="0" err="1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Δ</a:t>
            </a:r>
            <a:endParaRPr lang="en-NL" sz="1800" dirty="0">
              <a:solidFill>
                <a:srgbClr val="000000"/>
              </a:solidFill>
              <a:latin typeface="Calibri" panose="020F0502020204030204" pitchFamily="34" charset="0"/>
              <a:ea typeface="ＭＳ Ｐゴシック" charset="-128"/>
              <a:cs typeface="Calibri" panose="020F0502020204030204" pitchFamily="34" charset="0"/>
            </a:endParaRPr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C094F6DA-4877-C345-8F78-E95D5E3B7AAF}"/>
              </a:ext>
            </a:extLst>
          </p:cNvPr>
          <p:cNvSpPr/>
          <p:nvPr/>
        </p:nvSpPr>
        <p:spPr bwMode="auto">
          <a:xfrm>
            <a:off x="4980485" y="1937144"/>
            <a:ext cx="465697" cy="30172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</a:t>
            </a:r>
          </a:p>
        </p:txBody>
      </p:sp>
      <p:sp>
        <p:nvSpPr>
          <p:cNvPr id="61" name="Rounded Rectangle 60">
            <a:extLst>
              <a:ext uri="{FF2B5EF4-FFF2-40B4-BE49-F238E27FC236}">
                <a16:creationId xmlns:a16="http://schemas.microsoft.com/office/drawing/2014/main" id="{590EFD1D-8C2F-1142-9D62-BDDCF4B0C012}"/>
              </a:ext>
            </a:extLst>
          </p:cNvPr>
          <p:cNvSpPr/>
          <p:nvPr/>
        </p:nvSpPr>
        <p:spPr bwMode="auto">
          <a:xfrm>
            <a:off x="4980485" y="2888120"/>
            <a:ext cx="465697" cy="30172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748D1CA2-7609-5F4B-BF89-5DCB7B21DB75}"/>
              </a:ext>
            </a:extLst>
          </p:cNvPr>
          <p:cNvSpPr/>
          <p:nvPr/>
        </p:nvSpPr>
        <p:spPr bwMode="auto">
          <a:xfrm>
            <a:off x="4980485" y="3839096"/>
            <a:ext cx="465697" cy="30172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</a:t>
            </a: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E09DE6F1-AA28-364E-9C95-2FCD4ED2238E}"/>
              </a:ext>
            </a:extLst>
          </p:cNvPr>
          <p:cNvSpPr/>
          <p:nvPr/>
        </p:nvSpPr>
        <p:spPr bwMode="auto">
          <a:xfrm>
            <a:off x="4980485" y="4753496"/>
            <a:ext cx="465697" cy="30172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</a:t>
            </a:r>
          </a:p>
        </p:txBody>
      </p:sp>
      <p:sp>
        <p:nvSpPr>
          <p:cNvPr id="64" name="Rounded Rectangle 63">
            <a:extLst>
              <a:ext uri="{FF2B5EF4-FFF2-40B4-BE49-F238E27FC236}">
                <a16:creationId xmlns:a16="http://schemas.microsoft.com/office/drawing/2014/main" id="{8C3D4916-6119-314B-BD14-FD54F3424553}"/>
              </a:ext>
            </a:extLst>
          </p:cNvPr>
          <p:cNvSpPr/>
          <p:nvPr/>
        </p:nvSpPr>
        <p:spPr bwMode="auto">
          <a:xfrm>
            <a:off x="4980485" y="5567312"/>
            <a:ext cx="465697" cy="30172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</a:t>
            </a:r>
          </a:p>
        </p:txBody>
      </p:sp>
    </p:spTree>
    <p:extLst>
      <p:ext uri="{BB962C8B-B14F-4D97-AF65-F5344CB8AC3E}">
        <p14:creationId xmlns:p14="http://schemas.microsoft.com/office/powerpoint/2010/main" val="19967431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AEFAB05-45D1-D14B-AC2A-6BB8DFF25FF0}"/>
              </a:ext>
            </a:extLst>
          </p:cNvPr>
          <p:cNvCxnSpPr>
            <a:cxnSpLocks/>
          </p:cNvCxnSpPr>
          <p:nvPr/>
        </p:nvCxnSpPr>
        <p:spPr bwMode="auto">
          <a:xfrm>
            <a:off x="2368296" y="1261872"/>
            <a:ext cx="0" cy="526694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A4C13BB-028F-F643-B1F2-B759D7F1E1BB}"/>
              </a:ext>
            </a:extLst>
          </p:cNvPr>
          <p:cNvCxnSpPr>
            <a:cxnSpLocks/>
          </p:cNvCxnSpPr>
          <p:nvPr/>
        </p:nvCxnSpPr>
        <p:spPr bwMode="auto">
          <a:xfrm>
            <a:off x="4791456" y="1261872"/>
            <a:ext cx="0" cy="526694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70714AAF-46C0-0444-BDDF-4E25CC8A637A}"/>
              </a:ext>
            </a:extLst>
          </p:cNvPr>
          <p:cNvCxnSpPr>
            <a:cxnSpLocks/>
          </p:cNvCxnSpPr>
          <p:nvPr/>
        </p:nvCxnSpPr>
        <p:spPr bwMode="auto">
          <a:xfrm>
            <a:off x="7068312" y="1261872"/>
            <a:ext cx="0" cy="526694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4395C94-DC0B-4CE9-A4D2-38787FFAD6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53" name="think-cell Slide" r:id="rId5" imgW="370" imgH="371" progId="TCLayout.ActiveDocument.1">
                  <p:embed/>
                </p:oleObj>
              </mc:Choice>
              <mc:Fallback>
                <p:oleObj name="think-cell Slide" r:id="rId5" imgW="370" imgH="37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4395C94-DC0B-4CE9-A4D2-38787FFAD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50CF721-72ED-4600-84AB-55846C9107C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GB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6CF601-2313-4E20-93F0-6F02A278A4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3 extended SEIR model</a:t>
            </a:r>
            <a:endParaRPr lang="en-NL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67334CC-DAFF-4C6A-9FFD-93724B45A5E9}"/>
              </a:ext>
            </a:extLst>
          </p:cNvPr>
          <p:cNvSpPr/>
          <p:nvPr/>
        </p:nvSpPr>
        <p:spPr bwMode="auto">
          <a:xfrm>
            <a:off x="410183" y="3449132"/>
            <a:ext cx="1605943" cy="1599629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Susceptib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E5741B9-A419-4940-AD1A-743D80B44D00}"/>
              </a:ext>
            </a:extLst>
          </p:cNvPr>
          <p:cNvSpPr/>
          <p:nvPr/>
        </p:nvSpPr>
        <p:spPr bwMode="auto">
          <a:xfrm>
            <a:off x="2813175" y="3449132"/>
            <a:ext cx="1605943" cy="1599629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Expose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1A22B02-FBB2-844F-9D6B-23E42C4064B3}"/>
              </a:ext>
            </a:extLst>
          </p:cNvPr>
          <p:cNvSpPr/>
          <p:nvPr/>
        </p:nvSpPr>
        <p:spPr bwMode="auto">
          <a:xfrm>
            <a:off x="5184521" y="2064950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Infectious - mild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531BF13-D576-F841-BE50-BF31481D83D2}"/>
              </a:ext>
            </a:extLst>
          </p:cNvPr>
          <p:cNvSpPr/>
          <p:nvPr/>
        </p:nvSpPr>
        <p:spPr bwMode="auto">
          <a:xfrm>
            <a:off x="5184521" y="3021295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Infectious - hospital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96A44EA-5851-774E-9030-C9F3521BED36}"/>
              </a:ext>
            </a:extLst>
          </p:cNvPr>
          <p:cNvSpPr/>
          <p:nvPr/>
        </p:nvSpPr>
        <p:spPr bwMode="auto">
          <a:xfrm>
            <a:off x="5184521" y="3977640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Infectious - IC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8015763-2DDB-9943-9818-EA842928D5D4}"/>
              </a:ext>
            </a:extLst>
          </p:cNvPr>
          <p:cNvSpPr/>
          <p:nvPr/>
        </p:nvSpPr>
        <p:spPr bwMode="auto">
          <a:xfrm>
            <a:off x="5184521" y="4892040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Infectious – H/death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C74D58F-4508-B44A-ACA2-3AB79B657628}"/>
              </a:ext>
            </a:extLst>
          </p:cNvPr>
          <p:cNvSpPr/>
          <p:nvPr/>
        </p:nvSpPr>
        <p:spPr bwMode="auto">
          <a:xfrm>
            <a:off x="5184521" y="5714161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Infectious – IC/death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96FD682-C848-2B4F-837B-7105A7C1CC68}"/>
              </a:ext>
            </a:extLst>
          </p:cNvPr>
          <p:cNvSpPr/>
          <p:nvPr/>
        </p:nvSpPr>
        <p:spPr bwMode="auto">
          <a:xfrm>
            <a:off x="9787817" y="3015339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recovered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B98AB19-20ED-A540-BFF3-5CE110A67B8A}"/>
              </a:ext>
            </a:extLst>
          </p:cNvPr>
          <p:cNvSpPr/>
          <p:nvPr/>
        </p:nvSpPr>
        <p:spPr bwMode="auto">
          <a:xfrm>
            <a:off x="9787817" y="5288756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death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42859E3-F9F1-DD47-8734-C402B3CCED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NL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9C5F488-420A-E940-ABDA-C7667AF5AC9D}"/>
              </a:ext>
            </a:extLst>
          </p:cNvPr>
          <p:cNvCxnSpPr>
            <a:cxnSpLocks/>
            <a:stCxn id="75" idx="3"/>
            <a:endCxn id="23" idx="1"/>
          </p:cNvCxnSpPr>
          <p:nvPr/>
        </p:nvCxnSpPr>
        <p:spPr bwMode="auto">
          <a:xfrm>
            <a:off x="2016126" y="4248947"/>
            <a:ext cx="797049" cy="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ACFF4B63-0A76-A046-9A54-87629AA203FD}"/>
              </a:ext>
            </a:extLst>
          </p:cNvPr>
          <p:cNvSpPr/>
          <p:nvPr/>
        </p:nvSpPr>
        <p:spPr bwMode="auto">
          <a:xfrm>
            <a:off x="7342505" y="2064950"/>
            <a:ext cx="1605943" cy="687326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Non-Infectious - mil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54E893D-1A12-2842-A3C4-65F76F3ACE42}"/>
              </a:ext>
            </a:extLst>
          </p:cNvPr>
          <p:cNvSpPr/>
          <p:nvPr/>
        </p:nvSpPr>
        <p:spPr bwMode="auto">
          <a:xfrm>
            <a:off x="7342505" y="3021295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Non-Infectious - hospita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A7FDEB-1CDD-424F-BFDC-154E392504B9}"/>
              </a:ext>
            </a:extLst>
          </p:cNvPr>
          <p:cNvSpPr/>
          <p:nvPr/>
        </p:nvSpPr>
        <p:spPr bwMode="auto">
          <a:xfrm>
            <a:off x="7342505" y="3977640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Non-Infectious - IC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74F8AC-96CD-A94B-A65A-4F31767358FA}"/>
              </a:ext>
            </a:extLst>
          </p:cNvPr>
          <p:cNvSpPr/>
          <p:nvPr/>
        </p:nvSpPr>
        <p:spPr bwMode="auto">
          <a:xfrm>
            <a:off x="7342505" y="4892040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Non-Infectious – H/death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1D613F9-DA8A-A949-B583-86EED464F3E5}"/>
              </a:ext>
            </a:extLst>
          </p:cNvPr>
          <p:cNvSpPr/>
          <p:nvPr/>
        </p:nvSpPr>
        <p:spPr bwMode="auto">
          <a:xfrm>
            <a:off x="7342505" y="5714161"/>
            <a:ext cx="1605943" cy="687326"/>
          </a:xfrm>
          <a:prstGeom prst="rect">
            <a:avLst/>
          </a:prstGeom>
          <a:solidFill>
            <a:srgbClr val="D5F3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+mj-lt"/>
              </a:rPr>
              <a:t>Non-Infectious – IC/death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E951F8C-45C6-A142-BFB5-821FFC8D32A9}"/>
              </a:ext>
            </a:extLst>
          </p:cNvPr>
          <p:cNvSpPr txBox="1"/>
          <p:nvPr/>
        </p:nvSpPr>
        <p:spPr>
          <a:xfrm>
            <a:off x="410183" y="1261872"/>
            <a:ext cx="1456787" cy="356616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algn="ctr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400" b="1" dirty="0">
                <a:solidFill>
                  <a:schemeClr val="tx2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Susceptib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C1FE309-33AC-E241-B32A-CDDD3CA34D1A}"/>
              </a:ext>
            </a:extLst>
          </p:cNvPr>
          <p:cNvSpPr txBox="1"/>
          <p:nvPr/>
        </p:nvSpPr>
        <p:spPr>
          <a:xfrm>
            <a:off x="2879063" y="1261872"/>
            <a:ext cx="1456787" cy="356616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algn="ctr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400" b="1" dirty="0">
                <a:solidFill>
                  <a:schemeClr val="tx2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Expose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EEA7504-6DD6-874F-AC10-45F253AE5CB5}"/>
              </a:ext>
            </a:extLst>
          </p:cNvPr>
          <p:cNvSpPr txBox="1"/>
          <p:nvPr/>
        </p:nvSpPr>
        <p:spPr>
          <a:xfrm>
            <a:off x="5155919" y="1261872"/>
            <a:ext cx="1456787" cy="356616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algn="ctr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400" b="1" dirty="0">
                <a:solidFill>
                  <a:schemeClr val="tx2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Infectious: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56156BC-82CE-AC40-9A42-F26813A5BE66}"/>
              </a:ext>
            </a:extLst>
          </p:cNvPr>
          <p:cNvSpPr txBox="1"/>
          <p:nvPr/>
        </p:nvSpPr>
        <p:spPr>
          <a:xfrm>
            <a:off x="8234836" y="1261872"/>
            <a:ext cx="2954809" cy="356616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algn="ctr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400" b="1" dirty="0">
                <a:solidFill>
                  <a:schemeClr val="tx2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“Removed”</a:t>
            </a:r>
            <a:br>
              <a:rPr lang="en-NL" sz="1400" b="1" dirty="0">
                <a:solidFill>
                  <a:schemeClr val="tx2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</a:br>
            <a:r>
              <a:rPr lang="en-NL" sz="1400" dirty="0">
                <a:solidFill>
                  <a:schemeClr val="tx2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from contributing to new infections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FAD82E80-369A-FC42-870A-7E7460B81563}"/>
              </a:ext>
            </a:extLst>
          </p:cNvPr>
          <p:cNvCxnSpPr>
            <a:cxnSpLocks/>
          </p:cNvCxnSpPr>
          <p:nvPr/>
        </p:nvCxnSpPr>
        <p:spPr bwMode="auto">
          <a:xfrm>
            <a:off x="4393566" y="4248947"/>
            <a:ext cx="797049" cy="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109C02E4-CBED-174E-8F01-410B59E34851}"/>
              </a:ext>
            </a:extLst>
          </p:cNvPr>
          <p:cNvSpPr/>
          <p:nvPr/>
        </p:nvSpPr>
        <p:spPr bwMode="auto">
          <a:xfrm>
            <a:off x="2230473" y="4088926"/>
            <a:ext cx="292608" cy="32004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3FD40260-9A80-D14A-A96B-15CAAC6AC0A7}"/>
              </a:ext>
            </a:extLst>
          </p:cNvPr>
          <p:cNvSpPr/>
          <p:nvPr/>
        </p:nvSpPr>
        <p:spPr bwMode="auto">
          <a:xfrm>
            <a:off x="4635345" y="4088926"/>
            <a:ext cx="292608" cy="32004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NL" dirty="0">
                <a:solidFill>
                  <a:schemeClr val="bg1"/>
                </a:solidFill>
              </a:rPr>
              <a:t>2</a:t>
            </a:r>
            <a:endParaRPr kumimoji="0" lang="en-NL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F17A4217-833D-D54F-BC35-6DCCC1E5132A}"/>
              </a:ext>
            </a:extLst>
          </p:cNvPr>
          <p:cNvSpPr/>
          <p:nvPr/>
        </p:nvSpPr>
        <p:spPr bwMode="auto">
          <a:xfrm>
            <a:off x="392529" y="2041610"/>
            <a:ext cx="292608" cy="32004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FA8C0-35D5-1843-BCFC-758F39899805}"/>
              </a:ext>
            </a:extLst>
          </p:cNvPr>
          <p:cNvSpPr txBox="1"/>
          <p:nvPr/>
        </p:nvSpPr>
        <p:spPr>
          <a:xfrm>
            <a:off x="685137" y="2050754"/>
            <a:ext cx="3549466" cy="3017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4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: beta = Rint * R0 / Tinf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D146DFE-DB45-8A43-A148-34E6DE7D67EB}"/>
              </a:ext>
            </a:extLst>
          </p:cNvPr>
          <p:cNvSpPr txBox="1"/>
          <p:nvPr/>
        </p:nvSpPr>
        <p:spPr>
          <a:xfrm>
            <a:off x="2106252" y="3659175"/>
            <a:ext cx="574478" cy="3017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algn="ctr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8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β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E74F59C-5020-6C40-91D5-032D8CD0CADD}"/>
              </a:ext>
            </a:extLst>
          </p:cNvPr>
          <p:cNvSpPr txBox="1"/>
          <p:nvPr/>
        </p:nvSpPr>
        <p:spPr>
          <a:xfrm>
            <a:off x="4492836" y="3659175"/>
            <a:ext cx="574478" cy="3017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algn="ctr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8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𝝰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B8FACB92-5D3E-234F-8EFB-B9C3564FF5AA}"/>
              </a:ext>
            </a:extLst>
          </p:cNvPr>
          <p:cNvSpPr/>
          <p:nvPr/>
        </p:nvSpPr>
        <p:spPr bwMode="auto">
          <a:xfrm>
            <a:off x="392529" y="2498810"/>
            <a:ext cx="292608" cy="32004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97B8AD5-AEC5-3C47-8B10-6611704DA832}"/>
              </a:ext>
            </a:extLst>
          </p:cNvPr>
          <p:cNvSpPr txBox="1"/>
          <p:nvPr/>
        </p:nvSpPr>
        <p:spPr>
          <a:xfrm>
            <a:off x="685137" y="2507954"/>
            <a:ext cx="3549466" cy="3017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4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: alfa = 1 / Tinc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82DD477-7207-6849-9674-3FDE62E5BCAF}"/>
              </a:ext>
            </a:extLst>
          </p:cNvPr>
          <p:cNvSpPr/>
          <p:nvPr/>
        </p:nvSpPr>
        <p:spPr bwMode="auto">
          <a:xfrm>
            <a:off x="392529" y="5324306"/>
            <a:ext cx="292608" cy="32004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3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E87669F-54E4-5943-97D7-C857C09B03C3}"/>
              </a:ext>
            </a:extLst>
          </p:cNvPr>
          <p:cNvSpPr txBox="1"/>
          <p:nvPr/>
        </p:nvSpPr>
        <p:spPr>
          <a:xfrm>
            <a:off x="685136" y="5333450"/>
            <a:ext cx="4164359" cy="3017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4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: gamma = 1 / Tinf, Tinf == Tmild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C8BA667-F299-7F49-B863-4320A88776BE}"/>
              </a:ext>
            </a:extLst>
          </p:cNvPr>
          <p:cNvSpPr/>
          <p:nvPr/>
        </p:nvSpPr>
        <p:spPr bwMode="auto">
          <a:xfrm>
            <a:off x="392529" y="5781506"/>
            <a:ext cx="292608" cy="32004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4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99E11F0-D446-6D43-BB9A-1EB2B3515F04}"/>
              </a:ext>
            </a:extLst>
          </p:cNvPr>
          <p:cNvSpPr txBox="1"/>
          <p:nvPr/>
        </p:nvSpPr>
        <p:spPr>
          <a:xfrm>
            <a:off x="685137" y="5790650"/>
            <a:ext cx="3549466" cy="3017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NL" sz="14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: delta = 1 / (Txx – Tinf), specifiek per subcategorie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4A19CCF4-124D-1145-984E-013602853015}"/>
              </a:ext>
            </a:extLst>
          </p:cNvPr>
          <p:cNvSpPr/>
          <p:nvPr/>
        </p:nvSpPr>
        <p:spPr bwMode="auto">
          <a:xfrm>
            <a:off x="6900728" y="4088926"/>
            <a:ext cx="292608" cy="32004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3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E3BF888-9B7C-5343-8C09-884802654358}"/>
              </a:ext>
            </a:extLst>
          </p:cNvPr>
          <p:cNvSpPr txBox="1"/>
          <p:nvPr/>
        </p:nvSpPr>
        <p:spPr>
          <a:xfrm>
            <a:off x="6778836" y="3659175"/>
            <a:ext cx="574478" cy="3017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algn="ctr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GB" sz="18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𝝲</a:t>
            </a:r>
            <a:endParaRPr lang="en-NL" sz="1800" dirty="0">
              <a:solidFill>
                <a:srgbClr val="000000"/>
              </a:solidFill>
              <a:latin typeface="Calibri" panose="020F0502020204030204" pitchFamily="34" charset="0"/>
              <a:ea typeface="ＭＳ Ｐゴシック" charset="-128"/>
              <a:cs typeface="Calibri" panose="020F0502020204030204" pitchFamily="34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C8E2909A-A851-3D4D-B531-ABE68BB7A1DD}"/>
              </a:ext>
            </a:extLst>
          </p:cNvPr>
          <p:cNvSpPr/>
          <p:nvPr/>
        </p:nvSpPr>
        <p:spPr bwMode="auto">
          <a:xfrm>
            <a:off x="9232448" y="4088926"/>
            <a:ext cx="292608" cy="32004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4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ED9B7EF-2154-4145-8BBE-EC04EEE33CF6}"/>
              </a:ext>
            </a:extLst>
          </p:cNvPr>
          <p:cNvSpPr txBox="1"/>
          <p:nvPr/>
        </p:nvSpPr>
        <p:spPr>
          <a:xfrm>
            <a:off x="9110556" y="3659175"/>
            <a:ext cx="574478" cy="3017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R="0" algn="ctr" defTabSz="914400" latinLnBrk="0">
              <a:lnSpc>
                <a:spcPct val="100000"/>
              </a:lnSpc>
              <a:spcBef>
                <a:spcPct val="20000"/>
              </a:spcBef>
              <a:buClr>
                <a:schemeClr val="accent5"/>
              </a:buClr>
              <a:buSzPct val="70000"/>
              <a:tabLst/>
            </a:pPr>
            <a:r>
              <a:rPr lang="en-GB" sz="1800" dirty="0" err="1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Δ</a:t>
            </a:r>
            <a:endParaRPr lang="en-NL" sz="1800" dirty="0">
              <a:solidFill>
                <a:srgbClr val="000000"/>
              </a:solidFill>
              <a:latin typeface="Calibri" panose="020F0502020204030204" pitchFamily="34" charset="0"/>
              <a:ea typeface="ＭＳ Ｐゴシック" charset="-128"/>
              <a:cs typeface="Calibri" panose="020F0502020204030204" pitchFamily="34" charset="0"/>
            </a:endParaRP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5E10283-E875-6C46-83B7-5042F0A9E8F5}"/>
              </a:ext>
            </a:extLst>
          </p:cNvPr>
          <p:cNvSpPr/>
          <p:nvPr/>
        </p:nvSpPr>
        <p:spPr bwMode="auto">
          <a:xfrm>
            <a:off x="4980485" y="1937144"/>
            <a:ext cx="465697" cy="30172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0.80</a:t>
            </a: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05FC1797-8158-CF47-934E-6EE7A55C22FB}"/>
              </a:ext>
            </a:extLst>
          </p:cNvPr>
          <p:cNvSpPr/>
          <p:nvPr/>
        </p:nvSpPr>
        <p:spPr bwMode="auto">
          <a:xfrm>
            <a:off x="4980485" y="2833256"/>
            <a:ext cx="465697" cy="30172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0.08</a:t>
            </a:r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E9A5DFCD-48C2-5A4E-886E-EDBDDC29FB4F}"/>
              </a:ext>
            </a:extLst>
          </p:cNvPr>
          <p:cNvSpPr/>
          <p:nvPr/>
        </p:nvSpPr>
        <p:spPr bwMode="auto">
          <a:xfrm>
            <a:off x="4980485" y="3802520"/>
            <a:ext cx="465697" cy="30172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0.08</a:t>
            </a:r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DEE737D0-F192-9944-B467-C729C1074AC5}"/>
              </a:ext>
            </a:extLst>
          </p:cNvPr>
          <p:cNvSpPr/>
          <p:nvPr/>
        </p:nvSpPr>
        <p:spPr bwMode="auto">
          <a:xfrm>
            <a:off x="4980485" y="4762640"/>
            <a:ext cx="465697" cy="30172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0.02</a:t>
            </a:r>
          </a:p>
        </p:txBody>
      </p:sp>
      <p:sp>
        <p:nvSpPr>
          <p:cNvPr id="61" name="Rounded Rectangle 60">
            <a:extLst>
              <a:ext uri="{FF2B5EF4-FFF2-40B4-BE49-F238E27FC236}">
                <a16:creationId xmlns:a16="http://schemas.microsoft.com/office/drawing/2014/main" id="{6AAD18C8-E688-254D-A3CE-8A47810D5118}"/>
              </a:ext>
            </a:extLst>
          </p:cNvPr>
          <p:cNvSpPr/>
          <p:nvPr/>
        </p:nvSpPr>
        <p:spPr bwMode="auto">
          <a:xfrm>
            <a:off x="4980485" y="5576456"/>
            <a:ext cx="465697" cy="30172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0.02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7ADF7823-37B4-2442-B0E0-20CDADCF026F}"/>
              </a:ext>
            </a:extLst>
          </p:cNvPr>
          <p:cNvSpPr/>
          <p:nvPr/>
        </p:nvSpPr>
        <p:spPr bwMode="auto">
          <a:xfrm>
            <a:off x="9590855" y="5173446"/>
            <a:ext cx="465697" cy="30172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0.04</a:t>
            </a: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F26E05A6-8D4C-474D-BFC6-8F9F97DFEC1F}"/>
              </a:ext>
            </a:extLst>
          </p:cNvPr>
          <p:cNvSpPr/>
          <p:nvPr/>
        </p:nvSpPr>
        <p:spPr bwMode="auto">
          <a:xfrm>
            <a:off x="9590855" y="2856879"/>
            <a:ext cx="465697" cy="30172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NL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0.96</a:t>
            </a:r>
          </a:p>
        </p:txBody>
      </p:sp>
    </p:spTree>
    <p:extLst>
      <p:ext uri="{BB962C8B-B14F-4D97-AF65-F5344CB8AC3E}">
        <p14:creationId xmlns:p14="http://schemas.microsoft.com/office/powerpoint/2010/main" val="15003110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386EA74-138A-AB41-A579-FC3BEDE1AB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7E0EA2C-2F2F-F849-B562-62228EAE7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5A5FFD-F757-AA4A-8F8A-91BA63269B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NL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3752547-AAE5-6E45-BA28-DA77483E44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2299910"/>
              </p:ext>
            </p:extLst>
          </p:nvPr>
        </p:nvGraphicFramePr>
        <p:xfrm>
          <a:off x="606317" y="1422197"/>
          <a:ext cx="4487672" cy="3139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7816">
                  <a:extLst>
                    <a:ext uri="{9D8B030D-6E8A-4147-A177-3AD203B41FA5}">
                      <a16:colId xmlns:a16="http://schemas.microsoft.com/office/drawing/2014/main" val="2873885335"/>
                    </a:ext>
                  </a:extLst>
                </a:gridCol>
                <a:gridCol w="3419856">
                  <a:extLst>
                    <a:ext uri="{9D8B030D-6E8A-4147-A177-3AD203B41FA5}">
                      <a16:colId xmlns:a16="http://schemas.microsoft.com/office/drawing/2014/main" val="1981970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Parame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31442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Ti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ncubation period before a person is contagious</a:t>
                      </a:r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65811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Tin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Period a patient is contagious, eg can spread the disease. </a:t>
                      </a:r>
                      <a:r>
                        <a:rPr lang="en-GB" sz="1200" dirty="0"/>
                        <a:t>D</a:t>
                      </a:r>
                      <a:r>
                        <a:rPr lang="en-NL" sz="1200" dirty="0"/>
                        <a:t>isregarding any measur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6907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Tx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Period a patient a patient, eg from end of incubation time until either recovery or deat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47003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R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Reproduction numb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48413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Ri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Intervention effectiven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0721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P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P</a:t>
                      </a:r>
                      <a:r>
                        <a:rPr lang="en-NL" sz="1200" dirty="0"/>
                        <a:t>roportion split of cases by sever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162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640259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B31D6A5-8D16-6B41-92FA-29CE84A686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8987405"/>
              </p:ext>
            </p:extLst>
          </p:nvPr>
        </p:nvGraphicFramePr>
        <p:xfrm>
          <a:off x="7331376" y="1422197"/>
          <a:ext cx="3993116" cy="4536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693">
                  <a:extLst>
                    <a:ext uri="{9D8B030D-6E8A-4147-A177-3AD203B41FA5}">
                      <a16:colId xmlns:a16="http://schemas.microsoft.com/office/drawing/2014/main" val="2873885335"/>
                    </a:ext>
                  </a:extLst>
                </a:gridCol>
                <a:gridCol w="1345055">
                  <a:extLst>
                    <a:ext uri="{9D8B030D-6E8A-4147-A177-3AD203B41FA5}">
                      <a16:colId xmlns:a16="http://schemas.microsoft.com/office/drawing/2014/main" val="198197039"/>
                    </a:ext>
                  </a:extLst>
                </a:gridCol>
                <a:gridCol w="1801368">
                  <a:extLst>
                    <a:ext uri="{9D8B030D-6E8A-4147-A177-3AD203B41FA5}">
                      <a16:colId xmlns:a16="http://schemas.microsoft.com/office/drawing/2014/main" val="244505012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Parame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com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31442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Ti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5.3 da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65811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Tin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11 da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6907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Tmi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11 da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69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/>
                        <a:t>O</a:t>
                      </a:r>
                      <a:r>
                        <a:rPr lang="en-NL" sz="1200" dirty="0"/>
                        <a:t>nly relevant for active/ recovered numb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47003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Thos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48413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T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21 da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0721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Pmi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0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162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Phos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0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6402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P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0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60946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Phosp/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0.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52197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L" sz="1200" dirty="0"/>
                        <a:t>Pic/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L" sz="1200" dirty="0"/>
                        <a:t>0.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52994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50322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8251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F2&quot; g=&quot;9F&quot; b=&quot;AA&quot;/&gt;&lt;m_nBrightness endver=&quot;26206&quot; val=&quot;0&quot;/&gt;&lt;/elem&gt;&lt;elem m_fUsage=&quot;9.00000000000000022204E-01&quot;&gt;&lt;m_msothmcolidx val=&quot;0&quot;/&gt;&lt;m_rgb r=&quot;FF&quot; g=&quot;28&quot; b=&quot;2E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3_6fZDBSIFjjq3oYgJ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9nAjbXafuWB.xw.52e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j5QseNfDKGj0AT_8oR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WUjInwjhOSNQa2Bu5I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ayI.Zmx3A7gHQ8x9lf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t7wekfkG981njrVnl3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jPrmmw3i2Fcd2PfWUX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k0XJ8x.4unpaMnXMjk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KLXsq0Whm.DjkNh5j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E7WB5e41NJ17agrW8g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9qTiYYaIteYRY9vSgur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j5FfIVzWMzoG8JKerX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7MsQMZ22o4.nJUTOVHi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9D6QWW3U.XMuLmNmb4b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KdmFSq80yAghGw9raR1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T.dFjBVOKGQmtL0fzQd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9D6QWW3U.XMuLmNmb4b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KdmFSq80yAghGw9raR1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dpgfbiduzN3gXzaHGY_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cqagoyD_0BPPuEwlQjD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xUHB9KdgZ_1JRVdu5e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N7Gn41vPz7nSK2xU0CZ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19DfHeruJEHJzI26SE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PA.B0nDsbdXmdRhgdwW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6yRcn4ntt2XQ.3jPSO9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HK9vJ5CnKN_ZcMRJEjl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HK9vJ5CnKN_ZcMRJEj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jt0OIVZW4AtGnytvRA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lI7WkDLw2RmaRt0VR..Q"/>
</p:tagLst>
</file>

<file path=ppt/theme/theme1.xml><?xml version="1.0" encoding="utf-8"?>
<a:theme xmlns:a="http://schemas.openxmlformats.org/drawingml/2006/main" name="M3_theme">
  <a:themeElements>
    <a:clrScheme name="M3 consultancy kleurschema">
      <a:dk1>
        <a:sysClr val="windowText" lastClr="000000"/>
      </a:dk1>
      <a:lt1>
        <a:sysClr val="window" lastClr="FFFFFF"/>
      </a:lt1>
      <a:dk2>
        <a:srgbClr val="2E4263"/>
      </a:dk2>
      <a:lt2>
        <a:srgbClr val="C6C6C6"/>
      </a:lt2>
      <a:accent1>
        <a:srgbClr val="00709B"/>
      </a:accent1>
      <a:accent2>
        <a:srgbClr val="3A7878"/>
      </a:accent2>
      <a:accent3>
        <a:srgbClr val="86A728"/>
      </a:accent3>
      <a:accent4>
        <a:srgbClr val="AF9B20"/>
      </a:accent4>
      <a:accent5>
        <a:srgbClr val="DBD600"/>
      </a:accent5>
      <a:accent6>
        <a:srgbClr val="E21E35"/>
      </a:accent6>
      <a:hlink>
        <a:srgbClr val="2E4263"/>
      </a:hlink>
      <a:folHlink>
        <a:srgbClr val="C6C6C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Hardcover">
      <a:fillStyleLst>
        <a:solidFill>
          <a:schemeClr val="phClr"/>
        </a:solidFill>
        <a:solidFill>
          <a:schemeClr val="phClr">
            <a:tint val="68000"/>
            <a:shade val="94000"/>
            <a:satMod val="300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80000"/>
                <a:lumMod val="98000"/>
              </a:schemeClr>
            </a:gs>
            <a:gs pos="100000">
              <a:schemeClr val="phClr">
                <a:satMod val="130000"/>
              </a:schemeClr>
            </a:gs>
          </a:gsLst>
          <a:lin ang="5160000" scaled="0"/>
        </a:gradFill>
      </a:fillStyleLst>
      <a:lnStyleLst>
        <a:ln w="12700" cap="flat" cmpd="sng" algn="ctr">
          <a:solidFill>
            <a:schemeClr val="phClr">
              <a:shade val="90000"/>
              <a:lumMod val="90000"/>
            </a:schemeClr>
          </a:solidFill>
          <a:prstDash val="solid"/>
        </a:ln>
        <a:ln w="19050" cap="flat" cmpd="sng" algn="ctr">
          <a:solidFill>
            <a:schemeClr val="phClr">
              <a:shade val="75000"/>
              <a:lumMod val="9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12700" dir="5400000" rotWithShape="0">
              <a:srgbClr val="000000">
                <a:alpha val="1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6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400000"/>
            </a:lightRig>
          </a:scene3d>
          <a:sp3d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1">
              <a:lumMod val="8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2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/>
      <a:bodyPr wrap="square" rtlCol="0">
        <a:noAutofit/>
      </a:bodyPr>
      <a:lstStyle>
        <a:defPPr marL="176213" marR="0" indent="-176213" defTabSz="914400" latinLnBrk="0">
          <a:lnSpc>
            <a:spcPct val="100000"/>
          </a:lnSpc>
          <a:spcBef>
            <a:spcPct val="20000"/>
          </a:spcBef>
          <a:buClr>
            <a:schemeClr val="accent5"/>
          </a:buClr>
          <a:buSzPct val="70000"/>
          <a:buFont typeface="Wingdings" panose="05000000000000000000" pitchFamily="2" charset="2"/>
          <a:buChar char="§"/>
          <a:tabLst/>
          <a:defRPr sz="1400" dirty="0" err="1" smtClean="0">
            <a:solidFill>
              <a:srgbClr val="000000"/>
            </a:solidFill>
            <a:latin typeface="Calibri" panose="020F0502020204030204" pitchFamily="34" charset="0"/>
            <a:ea typeface="ＭＳ Ｐゴシック" charset="-128"/>
            <a:cs typeface="Calibri" panose="020F0502020204030204" pitchFamily="34" charset="0"/>
          </a:defRPr>
        </a:defPPr>
      </a:lstStyle>
    </a:txDef>
  </a:objectDefaults>
  <a:extraClrSchemeLst>
    <a:extraClrScheme>
      <a:clrScheme name="Lege presentatie 1">
        <a:dk1>
          <a:srgbClr val="000000"/>
        </a:dk1>
        <a:lt1>
          <a:srgbClr val="FFFFFF"/>
        </a:lt1>
        <a:dk2>
          <a:srgbClr val="CC0000"/>
        </a:dk2>
        <a:lt2>
          <a:srgbClr val="969696"/>
        </a:lt2>
        <a:accent1>
          <a:srgbClr val="FFFFFF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8A00"/>
        </a:accent6>
        <a:hlink>
          <a:srgbClr val="CC3300"/>
        </a:hlink>
        <a:folHlink>
          <a:srgbClr val="66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3_theme" id="{E5158167-8B51-624A-A099-E4C4384EAFCA}" vid="{105CF05D-A7F7-A44F-BFBA-78B9D59229D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7</TotalTime>
  <Words>324</Words>
  <Application>Microsoft Macintosh PowerPoint</Application>
  <PresentationFormat>Widescreen</PresentationFormat>
  <Paragraphs>121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Wingdings</vt:lpstr>
      <vt:lpstr>M3_theme</vt:lpstr>
      <vt:lpstr>think-cell Slide</vt:lpstr>
      <vt:lpstr>M3 extended SEIR model - structure</vt:lpstr>
      <vt:lpstr>M3 extended SEIR model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win Matthijssen</dc:creator>
  <cp:lastModifiedBy>Microsoft Office User</cp:lastModifiedBy>
  <cp:revision>1719</cp:revision>
  <cp:lastPrinted>2020-03-12T07:44:23Z</cp:lastPrinted>
  <dcterms:created xsi:type="dcterms:W3CDTF">2016-02-16T09:48:41Z</dcterms:created>
  <dcterms:modified xsi:type="dcterms:W3CDTF">2020-03-30T12:45:11Z</dcterms:modified>
</cp:coreProperties>
</file>